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7"/>
  </p:sldMasterIdLst>
  <p:notesMasterIdLst>
    <p:notesMasterId r:id="rId15"/>
  </p:notesMasterIdLst>
  <p:sldIdLst>
    <p:sldId id="2147470426" r:id="rId8"/>
    <p:sldId id="265" r:id="rId9"/>
    <p:sldId id="2147470429" r:id="rId10"/>
    <p:sldId id="4055" r:id="rId11"/>
    <p:sldId id="4051" r:id="rId12"/>
    <p:sldId id="2147470430" r:id="rId13"/>
    <p:sldId id="2147470428" r:id="rId14"/>
  </p:sldIdLst>
  <p:sldSz cx="12192000" cy="6858000"/>
  <p:notesSz cx="14351000" cy="99187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D730220-5F68-BAE5-5E73-88D71E21778C}" name="Gael Delaunay" initials="GD" userId="S::ah027@deutsche-boerse.com::540a2b45-509f-4fa5-8bcd-cdc7acd01296" providerId="AD"/>
  <p188:author id="{68289637-D23B-7EEF-A38D-3FB458A81898}" name="Sandra Weber" initials="SW" userId="S::pz051@deutsche-boerse.com::718c032e-b891-4b3f-b0be-140080ef055b" providerId="AD"/>
  <p188:author id="{74AA766B-3246-C34D-B5C6-D4B0BDBE1C1E}" name="Nathalia Teofilo" initials="NT" userId="S::pe281@deutsche-boerse.com::a133e4ba-ab9f-49ee-af0a-93e33fb61143" providerId="AD"/>
  <p188:author id="{03253E70-85BA-8B8C-0E2D-70825EC5A565}" name="Gregory Rodeheaver" initials="GR" userId="S::vg998@deutsche-boerse.com::40103801-f1c8-4385-9963-f9aaf151c868" providerId="AD"/>
  <p188:author id="{ECF5E08E-FB40-1BCF-D72D-FA909EAD5278}" name="Jerome Boulanger" initials="JB" userId="S::dc681@deutsche-boerse.com::cf385dbd-736e-4ea4-9fc7-e655266605c0" providerId="AD"/>
  <p188:author id="{D2E05EBD-8A2A-F3CD-2268-B9C192A77963}" name="Kadian Bogle" initials="KB" userId="S::ux460@deutsche-boerse.com::76cab89d-9b55-45a8-91e0-56ac793fecde" providerId="AD"/>
  <p188:author id="{C8DAA3D0-79B9-D338-08C1-CC3A3978D8BE}" name="Marton Szigeti" initials="MS" userId="S::gw536@deutsche-boerse.com::d1bde473-5861-49d9-b6de-e8a803eb9805" providerId="AD"/>
  <p188:author id="{B82476D4-F8CC-271A-D185-B32FE0D8357D}" name="Fabrice Tomenko" initials="FT" userId="S::es279@deutsche-boerse.com::0acc1ced-427c-490d-a6ca-9c16a3048b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8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1E3170-EA50-4495-B6FA-5A37ADF8E860}" v="1112" dt="2024-03-04T19:57:33.047"/>
  </p1510:revLst>
</p1510:revInfo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112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egory Rodeheaver" userId="S::vg998@deutsche-boerse.com::40103801-f1c8-4385-9963-f9aaf151c868" providerId="AD" clId="Web-{0EBFC38B-ECC6-C15D-DEB1-9564F281010E}"/>
    <pc:docChg chg="mod modSld">
      <pc:chgData name="Gregory Rodeheaver" userId="S::vg998@deutsche-boerse.com::40103801-f1c8-4385-9963-f9aaf151c868" providerId="AD" clId="Web-{0EBFC38B-ECC6-C15D-DEB1-9564F281010E}" dt="2024-03-04T19:48:29.375" v="43" actId="20577"/>
      <pc:docMkLst>
        <pc:docMk/>
      </pc:docMkLst>
      <pc:sldChg chg="modSp addCm">
        <pc:chgData name="Gregory Rodeheaver" userId="S::vg998@deutsche-boerse.com::40103801-f1c8-4385-9963-f9aaf151c868" providerId="AD" clId="Web-{0EBFC38B-ECC6-C15D-DEB1-9564F281010E}" dt="2024-03-04T19:36:29.178" v="31" actId="20577"/>
        <pc:sldMkLst>
          <pc:docMk/>
          <pc:sldMk cId="1120281149" sldId="265"/>
        </pc:sldMkLst>
        <pc:spChg chg="mod">
          <ac:chgData name="Gregory Rodeheaver" userId="S::vg998@deutsche-boerse.com::40103801-f1c8-4385-9963-f9aaf151c868" providerId="AD" clId="Web-{0EBFC38B-ECC6-C15D-DEB1-9564F281010E}" dt="2024-03-04T19:36:29.178" v="31" actId="20577"/>
          <ac:spMkLst>
            <pc:docMk/>
            <pc:sldMk cId="1120281149" sldId="265"/>
            <ac:spMk id="14" creationId="{80BB1A20-854F-45E7-9C19-8D491B4AA25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regory Rodeheaver" userId="S::vg998@deutsche-boerse.com::40103801-f1c8-4385-9963-f9aaf151c868" providerId="AD" clId="Web-{0EBFC38B-ECC6-C15D-DEB1-9564F281010E}" dt="2024-03-04T19:32:51.858" v="1"/>
              <pc2:cmMkLst xmlns:pc2="http://schemas.microsoft.com/office/powerpoint/2019/9/main/command">
                <pc:docMk/>
                <pc:sldMk cId="1120281149" sldId="265"/>
                <pc2:cmMk id="{9B724DCB-2BE1-44DF-BEAE-AAFA6315DE83}"/>
              </pc2:cmMkLst>
            </pc226:cmChg>
          </p:ext>
        </pc:extLst>
      </pc:sldChg>
      <pc:sldChg chg="modSp addCm">
        <pc:chgData name="Gregory Rodeheaver" userId="S::vg998@deutsche-boerse.com::40103801-f1c8-4385-9963-f9aaf151c868" providerId="AD" clId="Web-{0EBFC38B-ECC6-C15D-DEB1-9564F281010E}" dt="2024-03-04T19:48:29.375" v="43" actId="20577"/>
        <pc:sldMkLst>
          <pc:docMk/>
          <pc:sldMk cId="1324684131" sldId="4055"/>
        </pc:sldMkLst>
        <pc:spChg chg="mod">
          <ac:chgData name="Gregory Rodeheaver" userId="S::vg998@deutsche-boerse.com::40103801-f1c8-4385-9963-f9aaf151c868" providerId="AD" clId="Web-{0EBFC38B-ECC6-C15D-DEB1-9564F281010E}" dt="2024-03-04T19:48:29.375" v="43" actId="20577"/>
          <ac:spMkLst>
            <pc:docMk/>
            <pc:sldMk cId="1324684131" sldId="4055"/>
            <ac:spMk id="5" creationId="{C9B44A4A-0AC2-4655-9874-E49E2B6886F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regory Rodeheaver" userId="S::vg998@deutsche-boerse.com::40103801-f1c8-4385-9963-f9aaf151c868" providerId="AD" clId="Web-{0EBFC38B-ECC6-C15D-DEB1-9564F281010E}" dt="2024-03-04T19:48:20.906" v="40"/>
              <pc2:cmMkLst xmlns:pc2="http://schemas.microsoft.com/office/powerpoint/2019/9/main/command">
                <pc:docMk/>
                <pc:sldMk cId="1324684131" sldId="4055"/>
                <pc2:cmMk id="{4B79176B-BA28-4246-8A2C-E6EEFE9DAF38}"/>
              </pc2:cmMkLst>
            </pc226:cmChg>
          </p:ext>
        </pc:extLst>
      </pc:sldChg>
      <pc:sldChg chg="addCm delCm">
        <pc:chgData name="Gregory Rodeheaver" userId="S::vg998@deutsche-boerse.com::40103801-f1c8-4385-9963-f9aaf151c868" providerId="AD" clId="Web-{0EBFC38B-ECC6-C15D-DEB1-9564F281010E}" dt="2024-03-04T19:40:02.889" v="39"/>
        <pc:sldMkLst>
          <pc:docMk/>
          <pc:sldMk cId="2225293444" sldId="214747042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Gregory Rodeheaver" userId="S::vg998@deutsche-boerse.com::40103801-f1c8-4385-9963-f9aaf151c868" providerId="AD" clId="Web-{0EBFC38B-ECC6-C15D-DEB1-9564F281010E}" dt="2024-03-04T19:40:02.889" v="39"/>
              <pc2:cmMkLst xmlns:pc2="http://schemas.microsoft.com/office/powerpoint/2019/9/main/command">
                <pc:docMk/>
                <pc:sldMk cId="2225293444" sldId="2147470420"/>
                <pc2:cmMk id="{BFB3D62F-018A-4616-A31A-6A34D36926D2}"/>
              </pc2:cmMkLst>
            </pc226:cmChg>
          </p:ext>
        </pc:extLst>
      </pc:sldChg>
      <pc:sldChg chg="modSp">
        <pc:chgData name="Gregory Rodeheaver" userId="S::vg998@deutsche-boerse.com::40103801-f1c8-4385-9963-f9aaf151c868" providerId="AD" clId="Web-{0EBFC38B-ECC6-C15D-DEB1-9564F281010E}" dt="2024-03-04T19:36:12.599" v="30" actId="20577"/>
        <pc:sldMkLst>
          <pc:docMk/>
          <pc:sldMk cId="4022858806" sldId="2147470424"/>
        </pc:sldMkLst>
        <pc:spChg chg="mod">
          <ac:chgData name="Gregory Rodeheaver" userId="S::vg998@deutsche-boerse.com::40103801-f1c8-4385-9963-f9aaf151c868" providerId="AD" clId="Web-{0EBFC38B-ECC6-C15D-DEB1-9564F281010E}" dt="2024-03-04T19:36:12.599" v="30" actId="20577"/>
          <ac:spMkLst>
            <pc:docMk/>
            <pc:sldMk cId="4022858806" sldId="2147470424"/>
            <ac:spMk id="2" creationId="{0689FCED-7D58-9B77-0752-52FC1388C9BD}"/>
          </ac:spMkLst>
        </pc:spChg>
      </pc:sldChg>
      <pc:sldChg chg="modSp">
        <pc:chgData name="Gregory Rodeheaver" userId="S::vg998@deutsche-boerse.com::40103801-f1c8-4385-9963-f9aaf151c868" providerId="AD" clId="Web-{0EBFC38B-ECC6-C15D-DEB1-9564F281010E}" dt="2024-03-04T19:35:17.926" v="6" actId="20577"/>
        <pc:sldMkLst>
          <pc:docMk/>
          <pc:sldMk cId="985166175" sldId="2147470428"/>
        </pc:sldMkLst>
        <pc:spChg chg="mod">
          <ac:chgData name="Gregory Rodeheaver" userId="S::vg998@deutsche-boerse.com::40103801-f1c8-4385-9963-f9aaf151c868" providerId="AD" clId="Web-{0EBFC38B-ECC6-C15D-DEB1-9564F281010E}" dt="2024-03-04T19:35:13.363" v="4" actId="20577"/>
          <ac:spMkLst>
            <pc:docMk/>
            <pc:sldMk cId="985166175" sldId="2147470428"/>
            <ac:spMk id="10" creationId="{84F75D25-4D2D-4DF4-AFE4-B8E3E4509B36}"/>
          </ac:spMkLst>
        </pc:spChg>
        <pc:spChg chg="mod">
          <ac:chgData name="Gregory Rodeheaver" userId="S::vg998@deutsche-boerse.com::40103801-f1c8-4385-9963-f9aaf151c868" providerId="AD" clId="Web-{0EBFC38B-ECC6-C15D-DEB1-9564F281010E}" dt="2024-03-04T19:35:17.926" v="6" actId="20577"/>
          <ac:spMkLst>
            <pc:docMk/>
            <pc:sldMk cId="985166175" sldId="2147470428"/>
            <ac:spMk id="11" creationId="{ADF326C5-C875-4680-87D0-9B1C338CD5BB}"/>
          </ac:spMkLst>
        </pc:spChg>
      </pc:sldChg>
      <pc:sldChg chg="modSp addCm">
        <pc:chgData name="Gregory Rodeheaver" userId="S::vg998@deutsche-boerse.com::40103801-f1c8-4385-9963-f9aaf151c868" providerId="AD" clId="Web-{0EBFC38B-ECC6-C15D-DEB1-9564F281010E}" dt="2024-03-04T19:38:01.166" v="37" actId="20577"/>
        <pc:sldMkLst>
          <pc:docMk/>
          <pc:sldMk cId="1815646555" sldId="2147470429"/>
        </pc:sldMkLst>
        <pc:spChg chg="mod">
          <ac:chgData name="Gregory Rodeheaver" userId="S::vg998@deutsche-boerse.com::40103801-f1c8-4385-9963-f9aaf151c868" providerId="AD" clId="Web-{0EBFC38B-ECC6-C15D-DEB1-9564F281010E}" dt="2024-03-04T19:38:01.166" v="37" actId="20577"/>
          <ac:spMkLst>
            <pc:docMk/>
            <pc:sldMk cId="1815646555" sldId="2147470429"/>
            <ac:spMk id="13" creationId="{6B95C3BD-36C8-C463-2D0E-F94DE079D53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Gregory Rodeheaver" userId="S::vg998@deutsche-boerse.com::40103801-f1c8-4385-9963-f9aaf151c868" providerId="AD" clId="Web-{0EBFC38B-ECC6-C15D-DEB1-9564F281010E}" dt="2024-03-04T19:34:00.173" v="2"/>
              <pc2:cmMkLst xmlns:pc2="http://schemas.microsoft.com/office/powerpoint/2019/9/main/command">
                <pc:docMk/>
                <pc:sldMk cId="1815646555" sldId="2147470429"/>
                <pc2:cmMk id="{6F16586D-065A-4AAA-8EB0-3DEBA3783BAC}"/>
              </pc2:cmMkLst>
            </pc226:cmChg>
          </p:ext>
        </pc:extLst>
      </pc:sldChg>
    </pc:docChg>
  </pc:docChgLst>
  <pc:docChgLst>
    <pc:chgData name="Nathalia Teofilo" userId="a133e4ba-ab9f-49ee-af0a-93e33fb61143" providerId="ADAL" clId="{C45BACF7-57C3-49C5-96B0-B0B825BC29BC}"/>
    <pc:docChg chg="undo custSel addSld delSld modSld">
      <pc:chgData name="Nathalia Teofilo" userId="a133e4ba-ab9f-49ee-af0a-93e33fb61143" providerId="ADAL" clId="{C45BACF7-57C3-49C5-96B0-B0B825BC29BC}" dt="2024-02-26T20:01:58.042" v="161" actId="20577"/>
      <pc:docMkLst>
        <pc:docMk/>
      </pc:docMkLst>
      <pc:sldChg chg="addSp delSp modSp mod">
        <pc:chgData name="Nathalia Teofilo" userId="a133e4ba-ab9f-49ee-af0a-93e33fb61143" providerId="ADAL" clId="{C45BACF7-57C3-49C5-96B0-B0B825BC29BC}" dt="2024-02-26T19:45:35.807" v="61" actId="20577"/>
        <pc:sldMkLst>
          <pc:docMk/>
          <pc:sldMk cId="3327116104" sldId="4050"/>
        </pc:sldMkLst>
        <pc:spChg chg="mod">
          <ac:chgData name="Nathalia Teofilo" userId="a133e4ba-ab9f-49ee-af0a-93e33fb61143" providerId="ADAL" clId="{C45BACF7-57C3-49C5-96B0-B0B825BC29BC}" dt="2024-02-26T19:45:35.807" v="61" actId="20577"/>
          <ac:spMkLst>
            <pc:docMk/>
            <pc:sldMk cId="3327116104" sldId="4050"/>
            <ac:spMk id="4" creationId="{4A000BA2-87D1-420C-8624-CCA3C91B9AC1}"/>
          </ac:spMkLst>
        </pc:spChg>
        <pc:spChg chg="del">
          <ac:chgData name="Nathalia Teofilo" userId="a133e4ba-ab9f-49ee-af0a-93e33fb61143" providerId="ADAL" clId="{C45BACF7-57C3-49C5-96B0-B0B825BC29BC}" dt="2024-02-26T19:45:21.626" v="41" actId="478"/>
          <ac:spMkLst>
            <pc:docMk/>
            <pc:sldMk cId="3327116104" sldId="4050"/>
            <ac:spMk id="5" creationId="{C9B44A4A-0AC2-4655-9874-E49E2B6886F6}"/>
          </ac:spMkLst>
        </pc:spChg>
        <pc:spChg chg="del">
          <ac:chgData name="Nathalia Teofilo" userId="a133e4ba-ab9f-49ee-af0a-93e33fb61143" providerId="ADAL" clId="{C45BACF7-57C3-49C5-96B0-B0B825BC29BC}" dt="2024-02-26T19:45:13.335" v="37" actId="478"/>
          <ac:spMkLst>
            <pc:docMk/>
            <pc:sldMk cId="3327116104" sldId="4050"/>
            <ac:spMk id="6" creationId="{683B0918-53CC-40AB-8569-D7BE69030265}"/>
          </ac:spMkLst>
        </pc:spChg>
        <pc:spChg chg="del">
          <ac:chgData name="Nathalia Teofilo" userId="a133e4ba-ab9f-49ee-af0a-93e33fb61143" providerId="ADAL" clId="{C45BACF7-57C3-49C5-96B0-B0B825BC29BC}" dt="2024-02-26T19:45:18.890" v="40" actId="478"/>
          <ac:spMkLst>
            <pc:docMk/>
            <pc:sldMk cId="3327116104" sldId="4050"/>
            <ac:spMk id="8" creationId="{80D2CBFC-D31A-477F-AE1E-CE6EBAD2BD45}"/>
          </ac:spMkLst>
        </pc:spChg>
        <pc:spChg chg="add del mod">
          <ac:chgData name="Nathalia Teofilo" userId="a133e4ba-ab9f-49ee-af0a-93e33fb61143" providerId="ADAL" clId="{C45BACF7-57C3-49C5-96B0-B0B825BC29BC}" dt="2024-02-26T19:45:15.647" v="38" actId="478"/>
          <ac:spMkLst>
            <pc:docMk/>
            <pc:sldMk cId="3327116104" sldId="4050"/>
            <ac:spMk id="10" creationId="{165A3DC4-E583-6426-0DBD-8DFF2CDD0F56}"/>
          </ac:spMkLst>
        </pc:spChg>
        <pc:picChg chg="del">
          <ac:chgData name="Nathalia Teofilo" userId="a133e4ba-ab9f-49ee-af0a-93e33fb61143" providerId="ADAL" clId="{C45BACF7-57C3-49C5-96B0-B0B825BC29BC}" dt="2024-02-26T19:45:16.934" v="39" actId="478"/>
          <ac:picMkLst>
            <pc:docMk/>
            <pc:sldMk cId="3327116104" sldId="4050"/>
            <ac:picMk id="11" creationId="{256170E1-3CDE-4729-8951-EB4192D50EA3}"/>
          </ac:picMkLst>
        </pc:picChg>
        <pc:picChg chg="del">
          <ac:chgData name="Nathalia Teofilo" userId="a133e4ba-ab9f-49ee-af0a-93e33fb61143" providerId="ADAL" clId="{C45BACF7-57C3-49C5-96B0-B0B825BC29BC}" dt="2024-02-26T19:45:22.543" v="42" actId="478"/>
          <ac:picMkLst>
            <pc:docMk/>
            <pc:sldMk cId="3327116104" sldId="4050"/>
            <ac:picMk id="15" creationId="{4E055F04-3E8B-4C30-9B44-3C329BCE8E62}"/>
          </ac:picMkLst>
        </pc:picChg>
        <pc:picChg chg="del">
          <ac:chgData name="Nathalia Teofilo" userId="a133e4ba-ab9f-49ee-af0a-93e33fb61143" providerId="ADAL" clId="{C45BACF7-57C3-49C5-96B0-B0B825BC29BC}" dt="2024-02-26T19:45:24.624" v="44" actId="478"/>
          <ac:picMkLst>
            <pc:docMk/>
            <pc:sldMk cId="3327116104" sldId="4050"/>
            <ac:picMk id="16" creationId="{12F347E5-144E-435C-AD04-D4533D784278}"/>
          </ac:picMkLst>
        </pc:picChg>
        <pc:picChg chg="del">
          <ac:chgData name="Nathalia Teofilo" userId="a133e4ba-ab9f-49ee-af0a-93e33fb61143" providerId="ADAL" clId="{C45BACF7-57C3-49C5-96B0-B0B825BC29BC}" dt="2024-02-26T19:45:23.669" v="43" actId="478"/>
          <ac:picMkLst>
            <pc:docMk/>
            <pc:sldMk cId="3327116104" sldId="4050"/>
            <ac:picMk id="17" creationId="{47CBC302-8C55-46E5-A4D0-72399859930C}"/>
          </ac:picMkLst>
        </pc:picChg>
      </pc:sldChg>
      <pc:sldChg chg="modSp add mod">
        <pc:chgData name="Nathalia Teofilo" userId="a133e4ba-ab9f-49ee-af0a-93e33fb61143" providerId="ADAL" clId="{C45BACF7-57C3-49C5-96B0-B0B825BC29BC}" dt="2024-02-26T20:01:58.042" v="161" actId="20577"/>
        <pc:sldMkLst>
          <pc:docMk/>
          <pc:sldMk cId="2515545968" sldId="4051"/>
        </pc:sldMkLst>
        <pc:spChg chg="mod">
          <ac:chgData name="Nathalia Teofilo" userId="a133e4ba-ab9f-49ee-af0a-93e33fb61143" providerId="ADAL" clId="{C45BACF7-57C3-49C5-96B0-B0B825BC29BC}" dt="2024-02-26T20:01:58.042" v="161" actId="20577"/>
          <ac:spMkLst>
            <pc:docMk/>
            <pc:sldMk cId="2515545968" sldId="4051"/>
            <ac:spMk id="5" creationId="{C9B44A4A-0AC2-4655-9874-E49E2B6886F6}"/>
          </ac:spMkLst>
        </pc:spChg>
      </pc:sldChg>
      <pc:sldChg chg="modSp add mod">
        <pc:chgData name="Nathalia Teofilo" userId="a133e4ba-ab9f-49ee-af0a-93e33fb61143" providerId="ADAL" clId="{C45BACF7-57C3-49C5-96B0-B0B825BC29BC}" dt="2024-02-26T19:48:27.658" v="93" actId="20577"/>
        <pc:sldMkLst>
          <pc:docMk/>
          <pc:sldMk cId="3428418324" sldId="4052"/>
        </pc:sldMkLst>
        <pc:spChg chg="mod">
          <ac:chgData name="Nathalia Teofilo" userId="a133e4ba-ab9f-49ee-af0a-93e33fb61143" providerId="ADAL" clId="{C45BACF7-57C3-49C5-96B0-B0B825BC29BC}" dt="2024-02-26T19:48:27.658" v="93" actId="20577"/>
          <ac:spMkLst>
            <pc:docMk/>
            <pc:sldMk cId="3428418324" sldId="4052"/>
            <ac:spMk id="4" creationId="{4A000BA2-87D1-420C-8624-CCA3C91B9AC1}"/>
          </ac:spMkLst>
        </pc:spChg>
      </pc:sldChg>
      <pc:sldChg chg="new del">
        <pc:chgData name="Nathalia Teofilo" userId="a133e4ba-ab9f-49ee-af0a-93e33fb61143" providerId="ADAL" clId="{C45BACF7-57C3-49C5-96B0-B0B825BC29BC}" dt="2024-02-26T19:51:53.797" v="96" actId="2696"/>
        <pc:sldMkLst>
          <pc:docMk/>
          <pc:sldMk cId="1277327968" sldId="4053"/>
        </pc:sldMkLst>
      </pc:sldChg>
      <pc:sldChg chg="addSp delSp modSp add mod">
        <pc:chgData name="Nathalia Teofilo" userId="a133e4ba-ab9f-49ee-af0a-93e33fb61143" providerId="ADAL" clId="{C45BACF7-57C3-49C5-96B0-B0B825BC29BC}" dt="2024-02-26T19:52:09.751" v="117" actId="478"/>
        <pc:sldMkLst>
          <pc:docMk/>
          <pc:sldMk cId="1890519334" sldId="4054"/>
        </pc:sldMkLst>
        <pc:spChg chg="mod">
          <ac:chgData name="Nathalia Teofilo" userId="a133e4ba-ab9f-49ee-af0a-93e33fb61143" providerId="ADAL" clId="{C45BACF7-57C3-49C5-96B0-B0B825BC29BC}" dt="2024-02-26T19:52:02.551" v="116" actId="20577"/>
          <ac:spMkLst>
            <pc:docMk/>
            <pc:sldMk cId="1890519334" sldId="4054"/>
            <ac:spMk id="4" creationId="{4A000BA2-87D1-420C-8624-CCA3C91B9AC1}"/>
          </ac:spMkLst>
        </pc:spChg>
        <pc:spChg chg="del">
          <ac:chgData name="Nathalia Teofilo" userId="a133e4ba-ab9f-49ee-af0a-93e33fb61143" providerId="ADAL" clId="{C45BACF7-57C3-49C5-96B0-B0B825BC29BC}" dt="2024-02-26T19:52:09.751" v="117" actId="478"/>
          <ac:spMkLst>
            <pc:docMk/>
            <pc:sldMk cId="1890519334" sldId="4054"/>
            <ac:spMk id="5" creationId="{C9B44A4A-0AC2-4655-9874-E49E2B6886F6}"/>
          </ac:spMkLst>
        </pc:spChg>
        <pc:spChg chg="del">
          <ac:chgData name="Nathalia Teofilo" userId="a133e4ba-ab9f-49ee-af0a-93e33fb61143" providerId="ADAL" clId="{C45BACF7-57C3-49C5-96B0-B0B825BC29BC}" dt="2024-02-26T19:52:09.751" v="117" actId="478"/>
          <ac:spMkLst>
            <pc:docMk/>
            <pc:sldMk cId="1890519334" sldId="4054"/>
            <ac:spMk id="6" creationId="{683B0918-53CC-40AB-8569-D7BE69030265}"/>
          </ac:spMkLst>
        </pc:spChg>
        <pc:spChg chg="del">
          <ac:chgData name="Nathalia Teofilo" userId="a133e4ba-ab9f-49ee-af0a-93e33fb61143" providerId="ADAL" clId="{C45BACF7-57C3-49C5-96B0-B0B825BC29BC}" dt="2024-02-26T19:52:09.751" v="117" actId="478"/>
          <ac:spMkLst>
            <pc:docMk/>
            <pc:sldMk cId="1890519334" sldId="4054"/>
            <ac:spMk id="8" creationId="{80D2CBFC-D31A-477F-AE1E-CE6EBAD2BD45}"/>
          </ac:spMkLst>
        </pc:spChg>
        <pc:spChg chg="add mod">
          <ac:chgData name="Nathalia Teofilo" userId="a133e4ba-ab9f-49ee-af0a-93e33fb61143" providerId="ADAL" clId="{C45BACF7-57C3-49C5-96B0-B0B825BC29BC}" dt="2024-02-26T19:52:09.751" v="117" actId="478"/>
          <ac:spMkLst>
            <pc:docMk/>
            <pc:sldMk cId="1890519334" sldId="4054"/>
            <ac:spMk id="10" creationId="{E37564C4-3F20-2CAD-FCF6-83E008C5BA52}"/>
          </ac:spMkLst>
        </pc:spChg>
        <pc:picChg chg="del">
          <ac:chgData name="Nathalia Teofilo" userId="a133e4ba-ab9f-49ee-af0a-93e33fb61143" providerId="ADAL" clId="{C45BACF7-57C3-49C5-96B0-B0B825BC29BC}" dt="2024-02-26T19:52:09.751" v="117" actId="478"/>
          <ac:picMkLst>
            <pc:docMk/>
            <pc:sldMk cId="1890519334" sldId="4054"/>
            <ac:picMk id="11" creationId="{256170E1-3CDE-4729-8951-EB4192D50EA3}"/>
          </ac:picMkLst>
        </pc:picChg>
        <pc:picChg chg="del">
          <ac:chgData name="Nathalia Teofilo" userId="a133e4ba-ab9f-49ee-af0a-93e33fb61143" providerId="ADAL" clId="{C45BACF7-57C3-49C5-96B0-B0B825BC29BC}" dt="2024-02-26T19:52:09.751" v="117" actId="478"/>
          <ac:picMkLst>
            <pc:docMk/>
            <pc:sldMk cId="1890519334" sldId="4054"/>
            <ac:picMk id="15" creationId="{4E055F04-3E8B-4C30-9B44-3C329BCE8E62}"/>
          </ac:picMkLst>
        </pc:picChg>
        <pc:picChg chg="del">
          <ac:chgData name="Nathalia Teofilo" userId="a133e4ba-ab9f-49ee-af0a-93e33fb61143" providerId="ADAL" clId="{C45BACF7-57C3-49C5-96B0-B0B825BC29BC}" dt="2024-02-26T19:52:09.751" v="117" actId="478"/>
          <ac:picMkLst>
            <pc:docMk/>
            <pc:sldMk cId="1890519334" sldId="4054"/>
            <ac:picMk id="16" creationId="{12F347E5-144E-435C-AD04-D4533D784278}"/>
          </ac:picMkLst>
        </pc:picChg>
        <pc:picChg chg="del">
          <ac:chgData name="Nathalia Teofilo" userId="a133e4ba-ab9f-49ee-af0a-93e33fb61143" providerId="ADAL" clId="{C45BACF7-57C3-49C5-96B0-B0B825BC29BC}" dt="2024-02-26T19:52:09.751" v="117" actId="478"/>
          <ac:picMkLst>
            <pc:docMk/>
            <pc:sldMk cId="1890519334" sldId="4054"/>
            <ac:picMk id="17" creationId="{47CBC302-8C55-46E5-A4D0-72399859930C}"/>
          </ac:picMkLst>
        </pc:picChg>
      </pc:sldChg>
    </pc:docChg>
  </pc:docChgLst>
  <pc:docChgLst>
    <pc:chgData name="Nathalia Teofilo" userId="S::pe281@deutsche-boerse.com::a133e4ba-ab9f-49ee-af0a-93e33fb61143" providerId="AD" clId="Web-{BAFD0E88-90F7-0FDA-A2CC-CF15BEF7ED76}"/>
    <pc:docChg chg="modSld">
      <pc:chgData name="Nathalia Teofilo" userId="S::pe281@deutsche-boerse.com::a133e4ba-ab9f-49ee-af0a-93e33fb61143" providerId="AD" clId="Web-{BAFD0E88-90F7-0FDA-A2CC-CF15BEF7ED76}" dt="2024-03-01T19:11:46.093" v="160" actId="14100"/>
      <pc:docMkLst>
        <pc:docMk/>
      </pc:docMkLst>
      <pc:sldChg chg="modSp">
        <pc:chgData name="Nathalia Teofilo" userId="S::pe281@deutsche-boerse.com::a133e4ba-ab9f-49ee-af0a-93e33fb61143" providerId="AD" clId="Web-{BAFD0E88-90F7-0FDA-A2CC-CF15BEF7ED76}" dt="2024-03-01T19:11:46.093" v="160" actId="14100"/>
        <pc:sldMkLst>
          <pc:docMk/>
          <pc:sldMk cId="1890519334" sldId="4054"/>
        </pc:sldMkLst>
        <pc:spChg chg="mod">
          <ac:chgData name="Nathalia Teofilo" userId="S::pe281@deutsche-boerse.com::a133e4ba-ab9f-49ee-af0a-93e33fb61143" providerId="AD" clId="Web-{BAFD0E88-90F7-0FDA-A2CC-CF15BEF7ED76}" dt="2024-03-01T19:11:46.093" v="160" actId="14100"/>
          <ac:spMkLst>
            <pc:docMk/>
            <pc:sldMk cId="1890519334" sldId="4054"/>
            <ac:spMk id="10" creationId="{E37564C4-3F20-2CAD-FCF6-83E008C5BA52}"/>
          </ac:spMkLst>
        </pc:spChg>
      </pc:sldChg>
    </pc:docChg>
  </pc:docChgLst>
  <pc:docChgLst>
    <pc:chgData name="Nathalia Teofilo" userId="S::pe281@deutsche-boerse.com::a133e4ba-ab9f-49ee-af0a-93e33fb61143" providerId="AD" clId="Web-{8CB00930-2B8E-1F03-6498-AE03155291B3}"/>
    <pc:docChg chg="addSld delSld modSld">
      <pc:chgData name="Nathalia Teofilo" userId="S::pe281@deutsche-boerse.com::a133e4ba-ab9f-49ee-af0a-93e33fb61143" providerId="AD" clId="Web-{8CB00930-2B8E-1F03-6498-AE03155291B3}" dt="2024-03-01T21:17:22.664" v="414"/>
      <pc:docMkLst>
        <pc:docMk/>
      </pc:docMkLst>
      <pc:sldChg chg="del">
        <pc:chgData name="Nathalia Teofilo" userId="S::pe281@deutsche-boerse.com::a133e4ba-ab9f-49ee-af0a-93e33fb61143" providerId="AD" clId="Web-{8CB00930-2B8E-1F03-6498-AE03155291B3}" dt="2024-03-01T21:17:22.664" v="413"/>
        <pc:sldMkLst>
          <pc:docMk/>
          <pc:sldMk cId="4122661568" sldId="2147470421"/>
        </pc:sldMkLst>
      </pc:sldChg>
      <pc:sldChg chg="del">
        <pc:chgData name="Nathalia Teofilo" userId="S::pe281@deutsche-boerse.com::a133e4ba-ab9f-49ee-af0a-93e33fb61143" providerId="AD" clId="Web-{8CB00930-2B8E-1F03-6498-AE03155291B3}" dt="2024-03-01T21:11:24.684" v="1"/>
        <pc:sldMkLst>
          <pc:docMk/>
          <pc:sldMk cId="3827987810" sldId="2147470423"/>
        </pc:sldMkLst>
      </pc:sldChg>
      <pc:sldChg chg="delSp modSp add">
        <pc:chgData name="Nathalia Teofilo" userId="S::pe281@deutsche-boerse.com::a133e4ba-ab9f-49ee-af0a-93e33fb61143" providerId="AD" clId="Web-{8CB00930-2B8E-1F03-6498-AE03155291B3}" dt="2024-03-01T21:12:24.202" v="86"/>
        <pc:sldMkLst>
          <pc:docMk/>
          <pc:sldMk cId="3409164039" sldId="2147470426"/>
        </pc:sldMkLst>
        <pc:spChg chg="mod">
          <ac:chgData name="Nathalia Teofilo" userId="S::pe281@deutsche-boerse.com::a133e4ba-ab9f-49ee-af0a-93e33fb61143" providerId="AD" clId="Web-{8CB00930-2B8E-1F03-6498-AE03155291B3}" dt="2024-03-01T21:12:20.842" v="85" actId="20577"/>
          <ac:spMkLst>
            <pc:docMk/>
            <pc:sldMk cId="3409164039" sldId="2147470426"/>
            <ac:spMk id="6" creationId="{1057247B-0A14-439E-FEAC-94167F320656}"/>
          </ac:spMkLst>
        </pc:spChg>
        <pc:spChg chg="del">
          <ac:chgData name="Nathalia Teofilo" userId="S::pe281@deutsche-boerse.com::a133e4ba-ab9f-49ee-af0a-93e33fb61143" providerId="AD" clId="Web-{8CB00930-2B8E-1F03-6498-AE03155291B3}" dt="2024-03-01T21:12:24.202" v="86"/>
          <ac:spMkLst>
            <pc:docMk/>
            <pc:sldMk cId="3409164039" sldId="2147470426"/>
            <ac:spMk id="7" creationId="{907E0167-21BC-20B2-58F9-DFAF9F762EBA}"/>
          </ac:spMkLst>
        </pc:spChg>
      </pc:sldChg>
      <pc:sldChg chg="add del">
        <pc:chgData name="Nathalia Teofilo" userId="S::pe281@deutsche-boerse.com::a133e4ba-ab9f-49ee-af0a-93e33fb61143" providerId="AD" clId="Web-{8CB00930-2B8E-1F03-6498-AE03155291B3}" dt="2024-03-01T21:17:22.664" v="414"/>
        <pc:sldMkLst>
          <pc:docMk/>
          <pc:sldMk cId="1045604356" sldId="2147470427"/>
        </pc:sldMkLst>
      </pc:sldChg>
      <pc:sldChg chg="modSp add">
        <pc:chgData name="Nathalia Teofilo" userId="S::pe281@deutsche-boerse.com::a133e4ba-ab9f-49ee-af0a-93e33fb61143" providerId="AD" clId="Web-{8CB00930-2B8E-1F03-6498-AE03155291B3}" dt="2024-03-01T21:17:17.664" v="412" actId="20577"/>
        <pc:sldMkLst>
          <pc:docMk/>
          <pc:sldMk cId="985166175" sldId="2147470428"/>
        </pc:sldMkLst>
        <pc:spChg chg="mod">
          <ac:chgData name="Nathalia Teofilo" userId="S::pe281@deutsche-boerse.com::a133e4ba-ab9f-49ee-af0a-93e33fb61143" providerId="AD" clId="Web-{8CB00930-2B8E-1F03-6498-AE03155291B3}" dt="2024-03-01T21:17:17.664" v="412" actId="20577"/>
          <ac:spMkLst>
            <pc:docMk/>
            <pc:sldMk cId="985166175" sldId="2147470428"/>
            <ac:spMk id="10" creationId="{84F75D25-4D2D-4DF4-AFE4-B8E3E4509B36}"/>
          </ac:spMkLst>
        </pc:spChg>
        <pc:spChg chg="mod">
          <ac:chgData name="Nathalia Teofilo" userId="S::pe281@deutsche-boerse.com::a133e4ba-ab9f-49ee-af0a-93e33fb61143" providerId="AD" clId="Web-{8CB00930-2B8E-1F03-6498-AE03155291B3}" dt="2024-03-01T21:17:15.007" v="411" actId="20577"/>
          <ac:spMkLst>
            <pc:docMk/>
            <pc:sldMk cId="985166175" sldId="2147470428"/>
            <ac:spMk id="11" creationId="{ADF326C5-C875-4680-87D0-9B1C338CD5BB}"/>
          </ac:spMkLst>
        </pc:spChg>
      </pc:sldChg>
      <pc:sldMasterChg chg="addSldLayout">
        <pc:chgData name="Nathalia Teofilo" userId="S::pe281@deutsche-boerse.com::a133e4ba-ab9f-49ee-af0a-93e33fb61143" providerId="AD" clId="Web-{8CB00930-2B8E-1F03-6498-AE03155291B3}" dt="2024-03-01T21:13:43.829" v="88"/>
        <pc:sldMasterMkLst>
          <pc:docMk/>
          <pc:sldMasterMk cId="3484703908" sldId="2147483735"/>
        </pc:sldMasterMkLst>
        <pc:sldLayoutChg chg="add">
          <pc:chgData name="Nathalia Teofilo" userId="S::pe281@deutsche-boerse.com::a133e4ba-ab9f-49ee-af0a-93e33fb61143" providerId="AD" clId="Web-{8CB00930-2B8E-1F03-6498-AE03155291B3}" dt="2024-03-01T21:12:53.999" v="87"/>
          <pc:sldLayoutMkLst>
            <pc:docMk/>
            <pc:sldMasterMk cId="3484703908" sldId="2147483735"/>
            <pc:sldLayoutMk cId="317942475" sldId="2147483826"/>
          </pc:sldLayoutMkLst>
        </pc:sldLayoutChg>
        <pc:sldLayoutChg chg="add">
          <pc:chgData name="Nathalia Teofilo" userId="S::pe281@deutsche-boerse.com::a133e4ba-ab9f-49ee-af0a-93e33fb61143" providerId="AD" clId="Web-{8CB00930-2B8E-1F03-6498-AE03155291B3}" dt="2024-03-01T21:13:43.829" v="88"/>
          <pc:sldLayoutMkLst>
            <pc:docMk/>
            <pc:sldMasterMk cId="3484703908" sldId="2147483735"/>
            <pc:sldLayoutMk cId="806133844" sldId="2147483827"/>
          </pc:sldLayoutMkLst>
        </pc:sldLayoutChg>
      </pc:sldMasterChg>
    </pc:docChg>
  </pc:docChgLst>
  <pc:docChgLst>
    <pc:chgData name="Nathalia Teofilo" userId="S::pe281@deutsche-boerse.com::a133e4ba-ab9f-49ee-af0a-93e33fb61143" providerId="AD" clId="Web-{0D0F262E-6DA1-B180-3EF9-029290555422}"/>
    <pc:docChg chg="modSld">
      <pc:chgData name="Nathalia Teofilo" userId="S::pe281@deutsche-boerse.com::a133e4ba-ab9f-49ee-af0a-93e33fb61143" providerId="AD" clId="Web-{0D0F262E-6DA1-B180-3EF9-029290555422}" dt="2024-03-04T21:30:42.559" v="97" actId="20577"/>
      <pc:docMkLst>
        <pc:docMk/>
      </pc:docMkLst>
      <pc:sldChg chg="addCm delCm modCm">
        <pc:chgData name="Nathalia Teofilo" userId="S::pe281@deutsche-boerse.com::a133e4ba-ab9f-49ee-af0a-93e33fb61143" providerId="AD" clId="Web-{0D0F262E-6DA1-B180-3EF9-029290555422}" dt="2024-03-04T21:04:42.394" v="3"/>
        <pc:sldMkLst>
          <pc:docMk/>
          <pc:sldMk cId="1863582861" sldId="214747042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Nathalia Teofilo" userId="S::pe281@deutsche-boerse.com::a133e4ba-ab9f-49ee-af0a-93e33fb61143" providerId="AD" clId="Web-{0D0F262E-6DA1-B180-3EF9-029290555422}" dt="2024-03-04T21:04:21.346" v="2"/>
              <pc2:cmMkLst xmlns:pc2="http://schemas.microsoft.com/office/powerpoint/2019/9/main/command">
                <pc:docMk/>
                <pc:sldMk cId="1863582861" sldId="2147470422"/>
                <pc2:cmMk id="{AB943A92-CFDD-46FB-A13C-53B138E3A6CD}"/>
              </pc2:cmMkLst>
            </pc226:cmChg>
            <pc226:cmChg xmlns:pc226="http://schemas.microsoft.com/office/powerpoint/2022/06/main/command" chg="add">
              <pc226:chgData name="Nathalia Teofilo" userId="S::pe281@deutsche-boerse.com::a133e4ba-ab9f-49ee-af0a-93e33fb61143" providerId="AD" clId="Web-{0D0F262E-6DA1-B180-3EF9-029290555422}" dt="2024-03-04T21:04:42.394" v="3"/>
              <pc2:cmMkLst xmlns:pc2="http://schemas.microsoft.com/office/powerpoint/2019/9/main/command">
                <pc:docMk/>
                <pc:sldMk cId="1863582861" sldId="2147470422"/>
                <pc2:cmMk id="{4816C8E3-BA5A-47C8-92A1-AD0CB7F743BE}"/>
              </pc2:cmMkLst>
            </pc226:cmChg>
          </p:ext>
        </pc:extLst>
      </pc:sldChg>
      <pc:sldChg chg="addCm">
        <pc:chgData name="Nathalia Teofilo" userId="S::pe281@deutsche-boerse.com::a133e4ba-ab9f-49ee-af0a-93e33fb61143" providerId="AD" clId="Web-{0D0F262E-6DA1-B180-3EF9-029290555422}" dt="2024-03-04T21:05:00.770" v="4"/>
        <pc:sldMkLst>
          <pc:docMk/>
          <pc:sldMk cId="4022858806" sldId="214747042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thalia Teofilo" userId="S::pe281@deutsche-boerse.com::a133e4ba-ab9f-49ee-af0a-93e33fb61143" providerId="AD" clId="Web-{0D0F262E-6DA1-B180-3EF9-029290555422}" dt="2024-03-04T21:05:00.770" v="4"/>
              <pc2:cmMkLst xmlns:pc2="http://schemas.microsoft.com/office/powerpoint/2019/9/main/command">
                <pc:docMk/>
                <pc:sldMk cId="4022858806" sldId="2147470424"/>
                <pc2:cmMk id="{1150AB89-E864-41D7-8060-CB93D46990B5}"/>
              </pc2:cmMkLst>
            </pc226:cmChg>
          </p:ext>
        </pc:extLst>
      </pc:sldChg>
      <pc:sldChg chg="modSp">
        <pc:chgData name="Nathalia Teofilo" userId="S::pe281@deutsche-boerse.com::a133e4ba-ab9f-49ee-af0a-93e33fb61143" providerId="AD" clId="Web-{0D0F262E-6DA1-B180-3EF9-029290555422}" dt="2024-03-04T21:30:42.559" v="97" actId="20577"/>
        <pc:sldMkLst>
          <pc:docMk/>
          <pc:sldMk cId="906068552" sldId="2147470430"/>
        </pc:sldMkLst>
        <pc:spChg chg="mod">
          <ac:chgData name="Nathalia Teofilo" userId="S::pe281@deutsche-boerse.com::a133e4ba-ab9f-49ee-af0a-93e33fb61143" providerId="AD" clId="Web-{0D0F262E-6DA1-B180-3EF9-029290555422}" dt="2024-03-04T21:30:36.059" v="94" actId="20577"/>
          <ac:spMkLst>
            <pc:docMk/>
            <pc:sldMk cId="906068552" sldId="2147470430"/>
            <ac:spMk id="21" creationId="{7EC210F8-E0A0-54F8-F882-85A822FDC3CA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30:40.153" v="96" actId="20577"/>
          <ac:spMkLst>
            <pc:docMk/>
            <pc:sldMk cId="906068552" sldId="2147470430"/>
            <ac:spMk id="24" creationId="{780EC602-A510-4958-0037-CDCC3296643A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30:31.777" v="92" actId="20577"/>
          <ac:spMkLst>
            <pc:docMk/>
            <pc:sldMk cId="906068552" sldId="2147470430"/>
            <ac:spMk id="29" creationId="{55CFD0AE-5610-2C95-4600-1D07D107E83F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30:42.559" v="97" actId="20577"/>
          <ac:spMkLst>
            <pc:docMk/>
            <pc:sldMk cId="906068552" sldId="2147470430"/>
            <ac:spMk id="32" creationId="{281DBAC0-B365-8025-D9BA-3DB03996C986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29:55.509" v="80" actId="20577"/>
          <ac:spMkLst>
            <pc:docMk/>
            <pc:sldMk cId="906068552" sldId="2147470430"/>
            <ac:spMk id="36" creationId="{AC6840DC-A809-2336-BE0E-A6524BB9ED63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30:28.199" v="90" actId="20577"/>
          <ac:spMkLst>
            <pc:docMk/>
            <pc:sldMk cId="906068552" sldId="2147470430"/>
            <ac:spMk id="38" creationId="{19D88546-3E89-F295-13D8-239B1042D9E1}"/>
          </ac:spMkLst>
        </pc:spChg>
        <pc:spChg chg="mod">
          <ac:chgData name="Nathalia Teofilo" userId="S::pe281@deutsche-boerse.com::a133e4ba-ab9f-49ee-af0a-93e33fb61143" providerId="AD" clId="Web-{0D0F262E-6DA1-B180-3EF9-029290555422}" dt="2024-03-04T21:30:08.197" v="85" actId="20577"/>
          <ac:spMkLst>
            <pc:docMk/>
            <pc:sldMk cId="906068552" sldId="2147470430"/>
            <ac:spMk id="40" creationId="{54FC80EE-7657-4BEF-A822-BB7656BD839D}"/>
          </ac:spMkLst>
        </pc:spChg>
      </pc:sldChg>
    </pc:docChg>
  </pc:docChgLst>
  <pc:docChgLst>
    <pc:chgData name="Nathalia Teofilo" userId="a133e4ba-ab9f-49ee-af0a-93e33fb61143" providerId="ADAL" clId="{071E3170-EA50-4495-B6FA-5A37ADF8E860}"/>
    <pc:docChg chg="undo custSel addSld delSld modSld sldOrd modMainMaster">
      <pc:chgData name="Nathalia Teofilo" userId="a133e4ba-ab9f-49ee-af0a-93e33fb61143" providerId="ADAL" clId="{071E3170-EA50-4495-B6FA-5A37ADF8E860}" dt="2024-03-06T19:45:45.051" v="1521" actId="20577"/>
      <pc:docMkLst>
        <pc:docMk/>
      </pc:docMkLst>
      <pc:sldChg chg="addSp delSp modSp add del mod replTag modNotes">
        <pc:chgData name="Nathalia Teofilo" userId="a133e4ba-ab9f-49ee-af0a-93e33fb61143" providerId="ADAL" clId="{071E3170-EA50-4495-B6FA-5A37ADF8E860}" dt="2024-03-01T19:21:40.043" v="38" actId="47"/>
        <pc:sldMkLst>
          <pc:docMk/>
          <pc:sldMk cId="3686570884" sldId="256"/>
        </pc:sldMkLst>
        <pc:spChg chg="add mod">
          <ac:chgData name="Nathalia Teofilo" userId="a133e4ba-ab9f-49ee-af0a-93e33fb61143" providerId="ADAL" clId="{071E3170-EA50-4495-B6FA-5A37ADF8E860}" dt="2024-03-01T19:21:25.144" v="33" actId="790"/>
          <ac:spMkLst>
            <pc:docMk/>
            <pc:sldMk cId="3686570884" sldId="256"/>
            <ac:spMk id="2" creationId="{72D7A21A-6ED8-C0AC-FAB1-5C0BB9BE6B59}"/>
          </ac:spMkLst>
        </pc:spChg>
        <pc:spChg chg="mod">
          <ac:chgData name="Nathalia Teofilo" userId="a133e4ba-ab9f-49ee-af0a-93e33fb61143" providerId="ADAL" clId="{071E3170-EA50-4495-B6FA-5A37ADF8E860}" dt="2024-03-01T19:21:25.136" v="24" actId="790"/>
          <ac:spMkLst>
            <pc:docMk/>
            <pc:sldMk cId="3686570884" sldId="256"/>
            <ac:spMk id="3" creationId="{EF3CBC58-1D06-4379-AE26-AF06CCD7949A}"/>
          </ac:spMkLst>
        </pc:spChg>
        <pc:spChg chg="mod">
          <ac:chgData name="Nathalia Teofilo" userId="a133e4ba-ab9f-49ee-af0a-93e33fb61143" providerId="ADAL" clId="{071E3170-EA50-4495-B6FA-5A37ADF8E860}" dt="2024-03-01T19:21:25.125" v="19" actId="790"/>
          <ac:spMkLst>
            <pc:docMk/>
            <pc:sldMk cId="3686570884" sldId="256"/>
            <ac:spMk id="4" creationId="{A414DB1D-89DD-4173-A451-01D279B3EAFF}"/>
          </ac:spMkLst>
        </pc:spChg>
        <pc:spChg chg="add mod">
          <ac:chgData name="Nathalia Teofilo" userId="a133e4ba-ab9f-49ee-af0a-93e33fb61143" providerId="ADAL" clId="{071E3170-EA50-4495-B6FA-5A37ADF8E860}" dt="2024-03-01T19:21:25.146" v="34" actId="790"/>
          <ac:spMkLst>
            <pc:docMk/>
            <pc:sldMk cId="3686570884" sldId="256"/>
            <ac:spMk id="6" creationId="{E9A6BDE7-7836-99D4-D08D-6058EAC5C909}"/>
          </ac:spMkLst>
        </pc:spChg>
        <pc:spChg chg="del">
          <ac:chgData name="Nathalia Teofilo" userId="a133e4ba-ab9f-49ee-af0a-93e33fb61143" providerId="ADAL" clId="{071E3170-EA50-4495-B6FA-5A37ADF8E860}" dt="2024-03-01T19:21:25.103" v="15"/>
          <ac:spMkLst>
            <pc:docMk/>
            <pc:sldMk cId="3686570884" sldId="256"/>
            <ac:spMk id="8" creationId="{BAA6307E-7BE7-4F85-B2C0-601C4BA8B4B6}"/>
          </ac:spMkLst>
        </pc:spChg>
        <pc:spChg chg="mod">
          <ac:chgData name="Nathalia Teofilo" userId="a133e4ba-ab9f-49ee-af0a-93e33fb61143" providerId="ADAL" clId="{071E3170-EA50-4495-B6FA-5A37ADF8E860}" dt="2024-03-01T19:21:25.143" v="32" actId="790"/>
          <ac:spMkLst>
            <pc:docMk/>
            <pc:sldMk cId="3686570884" sldId="256"/>
            <ac:spMk id="22" creationId="{5F555BC4-AAE1-4D57-9F89-41309AC0B05B}"/>
          </ac:spMkLst>
        </pc:spChg>
        <pc:spChg chg="mod">
          <ac:chgData name="Nathalia Teofilo" userId="a133e4ba-ab9f-49ee-af0a-93e33fb61143" providerId="ADAL" clId="{071E3170-EA50-4495-B6FA-5A37ADF8E860}" dt="2024-03-01T19:21:25.136" v="25" actId="790"/>
          <ac:spMkLst>
            <pc:docMk/>
            <pc:sldMk cId="3686570884" sldId="256"/>
            <ac:spMk id="51" creationId="{CD063C20-1CCA-43B7-96C3-7BC108B09F22}"/>
          </ac:spMkLst>
        </pc:spChg>
        <pc:spChg chg="mod">
          <ac:chgData name="Nathalia Teofilo" userId="a133e4ba-ab9f-49ee-af0a-93e33fb61143" providerId="ADAL" clId="{071E3170-EA50-4495-B6FA-5A37ADF8E860}" dt="2024-03-01T19:21:25.137" v="26" actId="790"/>
          <ac:spMkLst>
            <pc:docMk/>
            <pc:sldMk cId="3686570884" sldId="256"/>
            <ac:spMk id="52" creationId="{1F690703-CE3B-4A82-98CD-52EB00ACDD18}"/>
          </ac:spMkLst>
        </pc:spChg>
        <pc:spChg chg="mod">
          <ac:chgData name="Nathalia Teofilo" userId="a133e4ba-ab9f-49ee-af0a-93e33fb61143" providerId="ADAL" clId="{071E3170-EA50-4495-B6FA-5A37ADF8E860}" dt="2024-03-01T19:21:25.138" v="27" actId="790"/>
          <ac:spMkLst>
            <pc:docMk/>
            <pc:sldMk cId="3686570884" sldId="256"/>
            <ac:spMk id="53" creationId="{B740E612-6276-4EB7-98D7-05AC500795DE}"/>
          </ac:spMkLst>
        </pc:spChg>
        <pc:spChg chg="mod">
          <ac:chgData name="Nathalia Teofilo" userId="a133e4ba-ab9f-49ee-af0a-93e33fb61143" providerId="ADAL" clId="{071E3170-EA50-4495-B6FA-5A37ADF8E860}" dt="2024-03-01T19:21:25.139" v="28" actId="790"/>
          <ac:spMkLst>
            <pc:docMk/>
            <pc:sldMk cId="3686570884" sldId="256"/>
            <ac:spMk id="54" creationId="{092021BA-54B0-4FC0-A6BC-38BA51BCD08A}"/>
          </ac:spMkLst>
        </pc:spChg>
        <pc:spChg chg="mod">
          <ac:chgData name="Nathalia Teofilo" userId="a133e4ba-ab9f-49ee-af0a-93e33fb61143" providerId="ADAL" clId="{071E3170-EA50-4495-B6FA-5A37ADF8E860}" dt="2024-03-01T19:21:25.127" v="20" actId="790"/>
          <ac:spMkLst>
            <pc:docMk/>
            <pc:sldMk cId="3686570884" sldId="256"/>
            <ac:spMk id="56" creationId="{F24D153E-63FB-40A0-8F00-BA057FAB1162}"/>
          </ac:spMkLst>
        </pc:spChg>
        <pc:spChg chg="mod">
          <ac:chgData name="Nathalia Teofilo" userId="a133e4ba-ab9f-49ee-af0a-93e33fb61143" providerId="ADAL" clId="{071E3170-EA50-4495-B6FA-5A37ADF8E860}" dt="2024-03-01T19:21:25.129" v="21" actId="790"/>
          <ac:spMkLst>
            <pc:docMk/>
            <pc:sldMk cId="3686570884" sldId="256"/>
            <ac:spMk id="57" creationId="{54F5019F-3F18-4E4D-9310-248D2EEE4813}"/>
          </ac:spMkLst>
        </pc:spChg>
        <pc:spChg chg="mod">
          <ac:chgData name="Nathalia Teofilo" userId="a133e4ba-ab9f-49ee-af0a-93e33fb61143" providerId="ADAL" clId="{071E3170-EA50-4495-B6FA-5A37ADF8E860}" dt="2024-03-01T19:21:25.132" v="22" actId="790"/>
          <ac:spMkLst>
            <pc:docMk/>
            <pc:sldMk cId="3686570884" sldId="256"/>
            <ac:spMk id="58" creationId="{0108484E-4025-40AE-A17C-9E957BAA1FDB}"/>
          </ac:spMkLst>
        </pc:spChg>
        <pc:spChg chg="mod">
          <ac:chgData name="Nathalia Teofilo" userId="a133e4ba-ab9f-49ee-af0a-93e33fb61143" providerId="ADAL" clId="{071E3170-EA50-4495-B6FA-5A37ADF8E860}" dt="2024-03-01T19:21:25.135" v="23" actId="790"/>
          <ac:spMkLst>
            <pc:docMk/>
            <pc:sldMk cId="3686570884" sldId="256"/>
            <ac:spMk id="59" creationId="{2AC26D0D-B39B-42D8-B4C6-F6EF5B7896AB}"/>
          </ac:spMkLst>
        </pc:spChg>
        <pc:spChg chg="mod">
          <ac:chgData name="Nathalia Teofilo" userId="a133e4ba-ab9f-49ee-af0a-93e33fb61143" providerId="ADAL" clId="{071E3170-EA50-4495-B6FA-5A37ADF8E860}" dt="2024-03-01T19:21:25.141" v="29" actId="790"/>
          <ac:spMkLst>
            <pc:docMk/>
            <pc:sldMk cId="3686570884" sldId="256"/>
            <ac:spMk id="62" creationId="{797EEA4E-BC33-4B3D-9CDF-7FB5C7C383D1}"/>
          </ac:spMkLst>
        </pc:spChg>
        <pc:spChg chg="mod">
          <ac:chgData name="Nathalia Teofilo" userId="a133e4ba-ab9f-49ee-af0a-93e33fb61143" providerId="ADAL" clId="{071E3170-EA50-4495-B6FA-5A37ADF8E860}" dt="2024-03-01T19:21:25.142" v="30" actId="790"/>
          <ac:spMkLst>
            <pc:docMk/>
            <pc:sldMk cId="3686570884" sldId="256"/>
            <ac:spMk id="64" creationId="{DA06E087-B86F-42FB-9762-F62ACFF47929}"/>
          </ac:spMkLst>
        </pc:spChg>
        <pc:spChg chg="mod">
          <ac:chgData name="Nathalia Teofilo" userId="a133e4ba-ab9f-49ee-af0a-93e33fb61143" providerId="ADAL" clId="{071E3170-EA50-4495-B6FA-5A37ADF8E860}" dt="2024-03-01T19:21:25.142" v="31" actId="790"/>
          <ac:spMkLst>
            <pc:docMk/>
            <pc:sldMk cId="3686570884" sldId="256"/>
            <ac:spMk id="65" creationId="{F614580E-D303-4757-9375-29FD1B3AE7F4}"/>
          </ac:spMkLst>
        </pc:spChg>
      </pc:sldChg>
      <pc:sldChg chg="add addCm">
        <pc:chgData name="Nathalia Teofilo" userId="a133e4ba-ab9f-49ee-af0a-93e33fb61143" providerId="ADAL" clId="{071E3170-EA50-4495-B6FA-5A37ADF8E860}" dt="2024-03-01T19:24:05.461" v="62"/>
        <pc:sldMkLst>
          <pc:docMk/>
          <pc:sldMk cId="3858104785" sldId="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thalia Teofilo" userId="a133e4ba-ab9f-49ee-af0a-93e33fb61143" providerId="ADAL" clId="{071E3170-EA50-4495-B6FA-5A37ADF8E860}" dt="2024-03-01T19:24:05.461" v="62"/>
              <pc2:cmMkLst xmlns:pc2="http://schemas.microsoft.com/office/powerpoint/2019/9/main/command">
                <pc:docMk/>
                <pc:sldMk cId="3858104785" sldId="257"/>
                <pc2:cmMk id="{3689C2DF-15B5-4B8A-8D72-5787BC100E61}"/>
              </pc2:cmMkLst>
            </pc226:cmChg>
          </p:ext>
        </pc:extLst>
      </pc:sldChg>
      <pc:sldChg chg="addSp delSp add mod addCm delCm">
        <pc:chgData name="Nathalia Teofilo" userId="a133e4ba-ab9f-49ee-af0a-93e33fb61143" providerId="ADAL" clId="{071E3170-EA50-4495-B6FA-5A37ADF8E860}" dt="2024-03-06T19:20:27.953" v="1431"/>
        <pc:sldMkLst>
          <pc:docMk/>
          <pc:sldMk cId="1120281149" sldId="265"/>
        </pc:sldMkLst>
        <pc:spChg chg="add del">
          <ac:chgData name="Nathalia Teofilo" userId="a133e4ba-ab9f-49ee-af0a-93e33fb61143" providerId="ADAL" clId="{071E3170-EA50-4495-B6FA-5A37ADF8E860}" dt="2024-03-04T17:17:32.167" v="173" actId="478"/>
          <ac:spMkLst>
            <pc:docMk/>
            <pc:sldMk cId="1120281149" sldId="265"/>
            <ac:spMk id="3" creationId="{AB4380BF-52D0-E893-B663-09C08EAB14A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thalia Teofilo" userId="a133e4ba-ab9f-49ee-af0a-93e33fb61143" providerId="ADAL" clId="{071E3170-EA50-4495-B6FA-5A37ADF8E860}" dt="2024-03-04T17:14:21.490" v="168"/>
              <pc2:cmMkLst xmlns:pc2="http://schemas.microsoft.com/office/powerpoint/2019/9/main/command">
                <pc:docMk/>
                <pc:sldMk cId="1120281149" sldId="265"/>
                <pc2:cmMk id="{72A8138D-F8DF-4C50-97F9-C4E03BA49AF2}"/>
              </pc2:cmMkLst>
            </pc226:cmChg>
            <pc226:cmChg xmlns:pc226="http://schemas.microsoft.com/office/powerpoint/2022/06/main/command" chg="del">
              <pc226:chgData name="Nathalia Teofilo" userId="a133e4ba-ab9f-49ee-af0a-93e33fb61143" providerId="ADAL" clId="{071E3170-EA50-4495-B6FA-5A37ADF8E860}" dt="2024-03-06T19:20:27.953" v="1431"/>
              <pc2:cmMkLst xmlns:pc2="http://schemas.microsoft.com/office/powerpoint/2019/9/main/command">
                <pc:docMk/>
                <pc:sldMk cId="1120281149" sldId="265"/>
                <pc2:cmMk id="{9B724DCB-2BE1-44DF-BEAE-AAFA6315DE83}"/>
              </pc2:cmMkLst>
            </pc226:cmChg>
          </p:ext>
        </pc:extLst>
      </pc:sldChg>
      <pc:sldChg chg="addSp delSp modSp add del mod replTag modNotes">
        <pc:chgData name="Nathalia Teofilo" userId="a133e4ba-ab9f-49ee-af0a-93e33fb61143" providerId="ADAL" clId="{071E3170-EA50-4495-B6FA-5A37ADF8E860}" dt="2024-03-01T19:22:00.785" v="60" actId="2696"/>
        <pc:sldMkLst>
          <pc:docMk/>
          <pc:sldMk cId="3085251190" sldId="1151"/>
        </pc:sldMkLst>
        <pc:spChg chg="del">
          <ac:chgData name="Nathalia Teofilo" userId="a133e4ba-ab9f-49ee-af0a-93e33fb61143" providerId="ADAL" clId="{071E3170-EA50-4495-B6FA-5A37ADF8E860}" dt="2024-03-01T19:21:53.909" v="47"/>
          <ac:spMkLst>
            <pc:docMk/>
            <pc:sldMk cId="3085251190" sldId="1151"/>
            <ac:spMk id="2" creationId="{347C7BC1-CB72-4E0B-85FC-A44509F1ED2D}"/>
          </ac:spMkLst>
        </pc:spChg>
        <pc:spChg chg="mod">
          <ac:chgData name="Nathalia Teofilo" userId="a133e4ba-ab9f-49ee-af0a-93e33fb61143" providerId="ADAL" clId="{071E3170-EA50-4495-B6FA-5A37ADF8E860}" dt="2024-03-01T19:21:53.947" v="52" actId="790"/>
          <ac:spMkLst>
            <pc:docMk/>
            <pc:sldMk cId="3085251190" sldId="1151"/>
            <ac:spMk id="3" creationId="{59CC8558-FD78-4E0D-9925-2BF886D13A19}"/>
          </ac:spMkLst>
        </pc:spChg>
        <pc:spChg chg="add mod">
          <ac:chgData name="Nathalia Teofilo" userId="a133e4ba-ab9f-49ee-af0a-93e33fb61143" providerId="ADAL" clId="{071E3170-EA50-4495-B6FA-5A37ADF8E860}" dt="2024-03-01T19:21:53.987" v="53" actId="790"/>
          <ac:spMkLst>
            <pc:docMk/>
            <pc:sldMk cId="3085251190" sldId="1151"/>
            <ac:spMk id="4" creationId="{479AB135-CDCE-F92E-4BE4-8BEBA84DAA85}"/>
          </ac:spMkLst>
        </pc:spChg>
        <pc:spChg chg="add mod">
          <ac:chgData name="Nathalia Teofilo" userId="a133e4ba-ab9f-49ee-af0a-93e33fb61143" providerId="ADAL" clId="{071E3170-EA50-4495-B6FA-5A37ADF8E860}" dt="2024-03-01T19:21:53.993" v="54" actId="790"/>
          <ac:spMkLst>
            <pc:docMk/>
            <pc:sldMk cId="3085251190" sldId="1151"/>
            <ac:spMk id="5" creationId="{954771A3-03B0-3917-AC44-D5C83D512DDE}"/>
          </ac:spMkLst>
        </pc:spChg>
        <pc:spChg chg="del">
          <ac:chgData name="Nathalia Teofilo" userId="a133e4ba-ab9f-49ee-af0a-93e33fb61143" providerId="ADAL" clId="{071E3170-EA50-4495-B6FA-5A37ADF8E860}" dt="2024-03-01T19:21:53.910" v="49"/>
          <ac:spMkLst>
            <pc:docMk/>
            <pc:sldMk cId="3085251190" sldId="1151"/>
            <ac:spMk id="6" creationId="{B596D0A0-5162-471F-A6A0-5A58A2BB5332}"/>
          </ac:spMkLst>
        </pc:spChg>
      </pc:sldChg>
      <pc:sldChg chg="addSp delSp modSp mod">
        <pc:chgData name="Nathalia Teofilo" userId="a133e4ba-ab9f-49ee-af0a-93e33fb61143" providerId="ADAL" clId="{071E3170-EA50-4495-B6FA-5A37ADF8E860}" dt="2024-03-01T19:16:26.788" v="6" actId="478"/>
        <pc:sldMkLst>
          <pc:docMk/>
          <pc:sldMk cId="3327116104" sldId="4050"/>
        </pc:sldMkLst>
        <pc:graphicFrameChg chg="add del modGraphic">
          <ac:chgData name="Nathalia Teofilo" userId="a133e4ba-ab9f-49ee-af0a-93e33fb61143" providerId="ADAL" clId="{071E3170-EA50-4495-B6FA-5A37ADF8E860}" dt="2024-03-01T19:16:26.788" v="6" actId="478"/>
          <ac:graphicFrameMkLst>
            <pc:docMk/>
            <pc:sldMk cId="3327116104" sldId="4050"/>
            <ac:graphicFrameMk id="7" creationId="{74556CA4-817F-C125-A513-AB8EC368593C}"/>
          </ac:graphicFrameMkLst>
        </pc:graphicFrameChg>
      </pc:sldChg>
      <pc:sldChg chg="addSp delSp modSp mod">
        <pc:chgData name="Nathalia Teofilo" userId="a133e4ba-ab9f-49ee-af0a-93e33fb61143" providerId="ADAL" clId="{071E3170-EA50-4495-B6FA-5A37ADF8E860}" dt="2024-03-06T19:43:31.585" v="1516" actId="207"/>
        <pc:sldMkLst>
          <pc:docMk/>
          <pc:sldMk cId="2515545968" sldId="4051"/>
        </pc:sldMkLst>
        <pc:spChg chg="del">
          <ac:chgData name="Nathalia Teofilo" userId="a133e4ba-ab9f-49ee-af0a-93e33fb61143" providerId="ADAL" clId="{071E3170-EA50-4495-B6FA-5A37ADF8E860}" dt="2024-03-04T17:17:46.697" v="175" actId="478"/>
          <ac:spMkLst>
            <pc:docMk/>
            <pc:sldMk cId="2515545968" sldId="4051"/>
            <ac:spMk id="3" creationId="{CDD461A3-53F9-4C4D-89DB-A22D3D215CD0}"/>
          </ac:spMkLst>
        </pc:spChg>
        <pc:spChg chg="mod">
          <ac:chgData name="Nathalia Teofilo" userId="a133e4ba-ab9f-49ee-af0a-93e33fb61143" providerId="ADAL" clId="{071E3170-EA50-4495-B6FA-5A37ADF8E860}" dt="2024-03-04T17:25:02.654" v="336" actId="20577"/>
          <ac:spMkLst>
            <pc:docMk/>
            <pc:sldMk cId="2515545968" sldId="4051"/>
            <ac:spMk id="4" creationId="{4A000BA2-87D1-420C-8624-CCA3C91B9AC1}"/>
          </ac:spMkLst>
        </pc:spChg>
        <pc:spChg chg="add mod">
          <ac:chgData name="Nathalia Teofilo" userId="a133e4ba-ab9f-49ee-af0a-93e33fb61143" providerId="ADAL" clId="{071E3170-EA50-4495-B6FA-5A37ADF8E860}" dt="2024-03-04T17:17:46.927" v="176"/>
          <ac:spMkLst>
            <pc:docMk/>
            <pc:sldMk cId="2515545968" sldId="4051"/>
            <ac:spMk id="5" creationId="{AB44FCE2-3700-599D-15DF-7A3D7A50C990}"/>
          </ac:spMkLst>
        </pc:spChg>
        <pc:spChg chg="mod">
          <ac:chgData name="Nathalia Teofilo" userId="a133e4ba-ab9f-49ee-af0a-93e33fb61143" providerId="ADAL" clId="{071E3170-EA50-4495-B6FA-5A37ADF8E860}" dt="2024-03-06T19:43:31.585" v="1516" actId="207"/>
          <ac:spMkLst>
            <pc:docMk/>
            <pc:sldMk cId="2515545968" sldId="4051"/>
            <ac:spMk id="8" creationId="{80D2CBFC-D31A-477F-AE1E-CE6EBAD2BD45}"/>
          </ac:spMkLst>
        </pc:spChg>
        <pc:spChg chg="mod">
          <ac:chgData name="Nathalia Teofilo" userId="a133e4ba-ab9f-49ee-af0a-93e33fb61143" providerId="ADAL" clId="{071E3170-EA50-4495-B6FA-5A37ADF8E860}" dt="2024-03-06T19:30:21.918" v="1514" actId="404"/>
          <ac:spMkLst>
            <pc:docMk/>
            <pc:sldMk cId="2515545968" sldId="4051"/>
            <ac:spMk id="13" creationId="{AA1033DE-8590-E41F-518C-4C6E6A3954EE}"/>
          </ac:spMkLst>
        </pc:spChg>
        <pc:picChg chg="mod">
          <ac:chgData name="Nathalia Teofilo" userId="a133e4ba-ab9f-49ee-af0a-93e33fb61143" providerId="ADAL" clId="{071E3170-EA50-4495-B6FA-5A37ADF8E860}" dt="2024-03-06T19:26:28.675" v="1484" actId="12789"/>
          <ac:picMkLst>
            <pc:docMk/>
            <pc:sldMk cId="2515545968" sldId="4051"/>
            <ac:picMk id="11" creationId="{256170E1-3CDE-4729-8951-EB4192D50EA3}"/>
          </ac:picMkLst>
        </pc:picChg>
      </pc:sldChg>
      <pc:sldChg chg="modSp mod addCm">
        <pc:chgData name="Nathalia Teofilo" userId="a133e4ba-ab9f-49ee-af0a-93e33fb61143" providerId="ADAL" clId="{071E3170-EA50-4495-B6FA-5A37ADF8E860}" dt="2024-03-01T19:16:19.843" v="4"/>
        <pc:sldMkLst>
          <pc:docMk/>
          <pc:sldMk cId="3428418324" sldId="4052"/>
        </pc:sldMkLst>
        <pc:spChg chg="mod">
          <ac:chgData name="Nathalia Teofilo" userId="a133e4ba-ab9f-49ee-af0a-93e33fb61143" providerId="ADAL" clId="{071E3170-EA50-4495-B6FA-5A37ADF8E860}" dt="2024-03-01T19:14:42.878" v="3" actId="20577"/>
          <ac:spMkLst>
            <pc:docMk/>
            <pc:sldMk cId="3428418324" sldId="4052"/>
            <ac:spMk id="6" creationId="{683B0918-53CC-40AB-8569-D7BE6903026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thalia Teofilo" userId="a133e4ba-ab9f-49ee-af0a-93e33fb61143" providerId="ADAL" clId="{071E3170-EA50-4495-B6FA-5A37ADF8E860}" dt="2024-03-01T19:16:19.843" v="4"/>
              <pc2:cmMkLst xmlns:pc2="http://schemas.microsoft.com/office/powerpoint/2019/9/main/command">
                <pc:docMk/>
                <pc:sldMk cId="3428418324" sldId="4052"/>
                <pc2:cmMk id="{E191D7FE-8D9E-465E-B88E-0B37954FD519}"/>
              </pc2:cmMkLst>
            </pc226:cmChg>
          </p:ext>
        </pc:extLst>
      </pc:sldChg>
      <pc:sldChg chg="modSp mod ord">
        <pc:chgData name="Nathalia Teofilo" userId="a133e4ba-ab9f-49ee-af0a-93e33fb61143" providerId="ADAL" clId="{071E3170-EA50-4495-B6FA-5A37ADF8E860}" dt="2024-03-01T20:06:10.223" v="148"/>
        <pc:sldMkLst>
          <pc:docMk/>
          <pc:sldMk cId="1890519334" sldId="4054"/>
        </pc:sldMkLst>
        <pc:spChg chg="mod">
          <ac:chgData name="Nathalia Teofilo" userId="a133e4ba-ab9f-49ee-af0a-93e33fb61143" providerId="ADAL" clId="{071E3170-EA50-4495-B6FA-5A37ADF8E860}" dt="2024-03-01T19:12:43.338" v="1" actId="12789"/>
          <ac:spMkLst>
            <pc:docMk/>
            <pc:sldMk cId="1890519334" sldId="4054"/>
            <ac:spMk id="10" creationId="{E37564C4-3F20-2CAD-FCF6-83E008C5BA52}"/>
          </ac:spMkLst>
        </pc:spChg>
      </pc:sldChg>
      <pc:sldChg chg="addSp delSp modSp mod delCm">
        <pc:chgData name="Nathalia Teofilo" userId="a133e4ba-ab9f-49ee-af0a-93e33fb61143" providerId="ADAL" clId="{071E3170-EA50-4495-B6FA-5A37ADF8E860}" dt="2024-03-06T19:43:36.633" v="1517" actId="207"/>
        <pc:sldMkLst>
          <pc:docMk/>
          <pc:sldMk cId="1324684131" sldId="4055"/>
        </pc:sldMkLst>
        <pc:spChg chg="del">
          <ac:chgData name="Nathalia Teofilo" userId="a133e4ba-ab9f-49ee-af0a-93e33fb61143" providerId="ADAL" clId="{071E3170-EA50-4495-B6FA-5A37ADF8E860}" dt="2024-03-04T17:12:17.321" v="150" actId="478"/>
          <ac:spMkLst>
            <pc:docMk/>
            <pc:sldMk cId="1324684131" sldId="4055"/>
            <ac:spMk id="3" creationId="{CDD461A3-53F9-4C4D-89DB-A22D3D215CD0}"/>
          </ac:spMkLst>
        </pc:spChg>
        <pc:spChg chg="mod">
          <ac:chgData name="Nathalia Teofilo" userId="a133e4ba-ab9f-49ee-af0a-93e33fb61143" providerId="ADAL" clId="{071E3170-EA50-4495-B6FA-5A37ADF8E860}" dt="2024-03-04T17:25:17.287" v="345" actId="20577"/>
          <ac:spMkLst>
            <pc:docMk/>
            <pc:sldMk cId="1324684131" sldId="4055"/>
            <ac:spMk id="4" creationId="{4A000BA2-87D1-420C-8624-CCA3C91B9AC1}"/>
          </ac:spMkLst>
        </pc:spChg>
        <pc:spChg chg="mod">
          <ac:chgData name="Nathalia Teofilo" userId="a133e4ba-ab9f-49ee-af0a-93e33fb61143" providerId="ADAL" clId="{071E3170-EA50-4495-B6FA-5A37ADF8E860}" dt="2024-03-06T19:43:36.633" v="1517" actId="207"/>
          <ac:spMkLst>
            <pc:docMk/>
            <pc:sldMk cId="1324684131" sldId="4055"/>
            <ac:spMk id="5" creationId="{C9B44A4A-0AC2-4655-9874-E49E2B6886F6}"/>
          </ac:spMkLst>
        </pc:spChg>
        <pc:spChg chg="add del mod">
          <ac:chgData name="Nathalia Teofilo" userId="a133e4ba-ab9f-49ee-af0a-93e33fb61143" providerId="ADAL" clId="{071E3170-EA50-4495-B6FA-5A37ADF8E860}" dt="2024-03-04T17:12:46.903" v="155" actId="478"/>
          <ac:spMkLst>
            <pc:docMk/>
            <pc:sldMk cId="1324684131" sldId="4055"/>
            <ac:spMk id="6" creationId="{33013DC1-6384-3E2E-26D9-25DBA81C8EBE}"/>
          </ac:spMkLst>
        </pc:spChg>
        <pc:spChg chg="add del mod">
          <ac:chgData name="Nathalia Teofilo" userId="a133e4ba-ab9f-49ee-af0a-93e33fb61143" providerId="ADAL" clId="{071E3170-EA50-4495-B6FA-5A37ADF8E860}" dt="2024-03-04T17:17:51.294" v="177" actId="478"/>
          <ac:spMkLst>
            <pc:docMk/>
            <pc:sldMk cId="1324684131" sldId="4055"/>
            <ac:spMk id="7" creationId="{68C1BA5D-4517-CDA3-FEBC-12C450592015}"/>
          </ac:spMkLst>
        </pc:spChg>
        <pc:spChg chg="add mod">
          <ac:chgData name="Nathalia Teofilo" userId="a133e4ba-ab9f-49ee-af0a-93e33fb61143" providerId="ADAL" clId="{071E3170-EA50-4495-B6FA-5A37ADF8E860}" dt="2024-03-04T17:17:51.533" v="178"/>
          <ac:spMkLst>
            <pc:docMk/>
            <pc:sldMk cId="1324684131" sldId="4055"/>
            <ac:spMk id="8" creationId="{9A4E073A-D629-E508-76B0-5C84FE02A925}"/>
          </ac:spMkLst>
        </pc:spChg>
        <pc:spChg chg="mod">
          <ac:chgData name="Nathalia Teofilo" userId="a133e4ba-ab9f-49ee-af0a-93e33fb61143" providerId="ADAL" clId="{071E3170-EA50-4495-B6FA-5A37ADF8E860}" dt="2024-03-06T19:30:25.814" v="1515" actId="404"/>
          <ac:spMkLst>
            <pc:docMk/>
            <pc:sldMk cId="1324684131" sldId="4055"/>
            <ac:spMk id="12" creationId="{C60D2528-386C-874E-9C43-E2454546023A}"/>
          </ac:spMkLst>
        </pc:spChg>
        <pc:grpChg chg="add del mod">
          <ac:chgData name="Nathalia Teofilo" userId="a133e4ba-ab9f-49ee-af0a-93e33fb61143" providerId="ADAL" clId="{071E3170-EA50-4495-B6FA-5A37ADF8E860}" dt="2024-03-04T19:26:59.836" v="455" actId="165"/>
          <ac:grpSpMkLst>
            <pc:docMk/>
            <pc:sldMk cId="1324684131" sldId="4055"/>
            <ac:grpSpMk id="10" creationId="{F04FD614-CBF1-BF2C-7FC1-2042526C111B}"/>
          </ac:grpSpMkLst>
        </pc:grpChg>
        <pc:grpChg chg="add mod">
          <ac:chgData name="Nathalia Teofilo" userId="a133e4ba-ab9f-49ee-af0a-93e33fb61143" providerId="ADAL" clId="{071E3170-EA50-4495-B6FA-5A37ADF8E860}" dt="2024-03-06T19:26:20.442" v="1483" actId="12789"/>
          <ac:grpSpMkLst>
            <pc:docMk/>
            <pc:sldMk cId="1324684131" sldId="4055"/>
            <ac:grpSpMk id="11" creationId="{BF184649-E013-D4F3-8FD8-D3468DF4B158}"/>
          </ac:grpSpMkLst>
        </pc:grpChg>
        <pc:picChg chg="mod topLvl">
          <ac:chgData name="Nathalia Teofilo" userId="a133e4ba-ab9f-49ee-af0a-93e33fb61143" providerId="ADAL" clId="{071E3170-EA50-4495-B6FA-5A37ADF8E860}" dt="2024-03-06T19:26:20.442" v="1483" actId="12789"/>
          <ac:picMkLst>
            <pc:docMk/>
            <pc:sldMk cId="1324684131" sldId="4055"/>
            <ac:picMk id="15" creationId="{4E055F04-3E8B-4C30-9B44-3C329BCE8E62}"/>
          </ac:picMkLst>
        </pc:picChg>
        <pc:picChg chg="mod topLvl">
          <ac:chgData name="Nathalia Teofilo" userId="a133e4ba-ab9f-49ee-af0a-93e33fb61143" providerId="ADAL" clId="{071E3170-EA50-4495-B6FA-5A37ADF8E860}" dt="2024-03-06T19:26:20.442" v="1483" actId="12789"/>
          <ac:picMkLst>
            <pc:docMk/>
            <pc:sldMk cId="1324684131" sldId="4055"/>
            <ac:picMk id="16" creationId="{12F347E5-144E-435C-AD04-D4533D784278}"/>
          </ac:picMkLst>
        </pc:picChg>
        <pc:picChg chg="mod topLvl">
          <ac:chgData name="Nathalia Teofilo" userId="a133e4ba-ab9f-49ee-af0a-93e33fb61143" providerId="ADAL" clId="{071E3170-EA50-4495-B6FA-5A37ADF8E860}" dt="2024-03-06T19:26:20.442" v="1483" actId="12789"/>
          <ac:picMkLst>
            <pc:docMk/>
            <pc:sldMk cId="1324684131" sldId="4055"/>
            <ac:picMk id="17" creationId="{47CBC302-8C55-46E5-A4D0-72399859930C}"/>
          </ac:picMkLst>
        </pc:picChg>
        <pc:picChg chg="add mod">
          <ac:chgData name="Nathalia Teofilo" userId="a133e4ba-ab9f-49ee-af0a-93e33fb61143" providerId="ADAL" clId="{071E3170-EA50-4495-B6FA-5A37ADF8E860}" dt="2024-03-06T19:26:20.442" v="1483" actId="12789"/>
          <ac:picMkLst>
            <pc:docMk/>
            <pc:sldMk cId="1324684131" sldId="4055"/>
            <ac:picMk id="1026" creationId="{90952B15-10EE-96C8-83C8-E3CB57C52E9C}"/>
          </ac:picMkLst>
        </pc:picChg>
        <pc:picChg chg="add del">
          <ac:chgData name="Nathalia Teofilo" userId="a133e4ba-ab9f-49ee-af0a-93e33fb61143" providerId="ADAL" clId="{071E3170-EA50-4495-B6FA-5A37ADF8E860}" dt="2024-03-04T19:28:34.543" v="465" actId="478"/>
          <ac:picMkLst>
            <pc:docMk/>
            <pc:sldMk cId="1324684131" sldId="4055"/>
            <ac:picMk id="1028" creationId="{2F7E0573-32AC-3CD7-F251-37CC8C39FD96}"/>
          </ac:picMkLst>
        </pc:picChg>
        <pc:picChg chg="add mod">
          <ac:chgData name="Nathalia Teofilo" userId="a133e4ba-ab9f-49ee-af0a-93e33fb61143" providerId="ADAL" clId="{071E3170-EA50-4495-B6FA-5A37ADF8E860}" dt="2024-03-06T19:26:20.442" v="1483" actId="12789"/>
          <ac:picMkLst>
            <pc:docMk/>
            <pc:sldMk cId="1324684131" sldId="4055"/>
            <ac:picMk id="1030" creationId="{7A18980A-0896-C063-F6DB-065F430E4B53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071E3170-EA50-4495-B6FA-5A37ADF8E860}" dt="2024-03-06T19:20:34.531" v="1433"/>
              <pc2:cmMkLst xmlns:pc2="http://schemas.microsoft.com/office/powerpoint/2019/9/main/command">
                <pc:docMk/>
                <pc:sldMk cId="1324684131" sldId="4055"/>
                <pc2:cmMk id="{4B79176B-BA28-4246-8A2C-E6EEFE9DAF38}"/>
              </pc2:cmMkLst>
            </pc226:cmChg>
          </p:ext>
        </pc:extLst>
      </pc:sldChg>
      <pc:sldChg chg="addSp delSp modSp add del mod replTag modNotes">
        <pc:chgData name="Nathalia Teofilo" userId="a133e4ba-ab9f-49ee-af0a-93e33fb61143" providerId="ADAL" clId="{071E3170-EA50-4495-B6FA-5A37ADF8E860}" dt="2024-03-01T19:36:29.042" v="144" actId="47"/>
        <pc:sldMkLst>
          <pc:docMk/>
          <pc:sldMk cId="1498203597" sldId="4067"/>
        </pc:sldMkLst>
        <pc:spChg chg="mod">
          <ac:chgData name="Nathalia Teofilo" userId="a133e4ba-ab9f-49ee-af0a-93e33fb61143" providerId="ADAL" clId="{071E3170-EA50-4495-B6FA-5A37ADF8E860}" dt="2024-03-01T19:36:22.029" v="127" actId="790"/>
          <ac:spMkLst>
            <pc:docMk/>
            <pc:sldMk cId="1498203597" sldId="4067"/>
            <ac:spMk id="2" creationId="{00000000-0000-0000-0000-000000000000}"/>
          </ac:spMkLst>
        </pc:spChg>
        <pc:spChg chg="del">
          <ac:chgData name="Nathalia Teofilo" userId="a133e4ba-ab9f-49ee-af0a-93e33fb61143" providerId="ADAL" clId="{071E3170-EA50-4495-B6FA-5A37ADF8E860}" dt="2024-03-01T19:36:22.025" v="120"/>
          <ac:spMkLst>
            <pc:docMk/>
            <pc:sldMk cId="1498203597" sldId="4067"/>
            <ac:spMk id="3" creationId="{8C9710F8-7B23-4B88-92A0-EB77C84EBD37}"/>
          </ac:spMkLst>
        </pc:spChg>
        <pc:spChg chg="del">
          <ac:chgData name="Nathalia Teofilo" userId="a133e4ba-ab9f-49ee-af0a-93e33fb61143" providerId="ADAL" clId="{071E3170-EA50-4495-B6FA-5A37ADF8E860}" dt="2024-03-01T19:36:22.026" v="122"/>
          <ac:spMkLst>
            <pc:docMk/>
            <pc:sldMk cId="1498203597" sldId="4067"/>
            <ac:spMk id="4" creationId="{81BC7536-5546-4F4A-B313-B1AD50F57C78}"/>
          </ac:spMkLst>
        </pc:spChg>
        <pc:spChg chg="del">
          <ac:chgData name="Nathalia Teofilo" userId="a133e4ba-ab9f-49ee-af0a-93e33fb61143" providerId="ADAL" clId="{071E3170-EA50-4495-B6FA-5A37ADF8E860}" dt="2024-03-01T19:36:22.027" v="124"/>
          <ac:spMkLst>
            <pc:docMk/>
            <pc:sldMk cId="1498203597" sldId="4067"/>
            <ac:spMk id="5" creationId="{BA657018-90F5-4575-8051-6930AFD68A67}"/>
          </ac:spMkLst>
        </pc:spChg>
        <pc:spChg chg="add mod">
          <ac:chgData name="Nathalia Teofilo" userId="a133e4ba-ab9f-49ee-af0a-93e33fb61143" providerId="ADAL" clId="{071E3170-EA50-4495-B6FA-5A37ADF8E860}" dt="2024-03-01T19:36:22.045" v="135" actId="790"/>
          <ac:spMkLst>
            <pc:docMk/>
            <pc:sldMk cId="1498203597" sldId="4067"/>
            <ac:spMk id="6" creationId="{D463CB99-E500-C643-A4A8-DF20050E336D}"/>
          </ac:spMkLst>
        </pc:spChg>
        <pc:spChg chg="add mod">
          <ac:chgData name="Nathalia Teofilo" userId="a133e4ba-ab9f-49ee-af0a-93e33fb61143" providerId="ADAL" clId="{071E3170-EA50-4495-B6FA-5A37ADF8E860}" dt="2024-03-01T19:36:22.050" v="136" actId="790"/>
          <ac:spMkLst>
            <pc:docMk/>
            <pc:sldMk cId="1498203597" sldId="4067"/>
            <ac:spMk id="7" creationId="{EB84AB15-62B7-FAE3-2B91-C2DC7595184E}"/>
          </ac:spMkLst>
        </pc:spChg>
        <pc:spChg chg="add mod">
          <ac:chgData name="Nathalia Teofilo" userId="a133e4ba-ab9f-49ee-af0a-93e33fb61143" providerId="ADAL" clId="{071E3170-EA50-4495-B6FA-5A37ADF8E860}" dt="2024-03-01T19:36:22.051" v="137" actId="790"/>
          <ac:spMkLst>
            <pc:docMk/>
            <pc:sldMk cId="1498203597" sldId="4067"/>
            <ac:spMk id="8" creationId="{3867F4E0-9618-335C-487E-788E99BB08F4}"/>
          </ac:spMkLst>
        </pc:spChg>
        <pc:spChg chg="mod">
          <ac:chgData name="Nathalia Teofilo" userId="a133e4ba-ab9f-49ee-af0a-93e33fb61143" providerId="ADAL" clId="{071E3170-EA50-4495-B6FA-5A37ADF8E860}" dt="2024-03-01T19:36:22.040" v="132" actId="790"/>
          <ac:spMkLst>
            <pc:docMk/>
            <pc:sldMk cId="1498203597" sldId="4067"/>
            <ac:spMk id="10" creationId="{1EB9260A-DB05-4E0D-AD2B-7FF5EB0478BB}"/>
          </ac:spMkLst>
        </pc:spChg>
        <pc:spChg chg="mod">
          <ac:chgData name="Nathalia Teofilo" userId="a133e4ba-ab9f-49ee-af0a-93e33fb61143" providerId="ADAL" clId="{071E3170-EA50-4495-B6FA-5A37ADF8E860}" dt="2024-03-01T19:36:22.031" v="128" actId="790"/>
          <ac:spMkLst>
            <pc:docMk/>
            <pc:sldMk cId="1498203597" sldId="4067"/>
            <ac:spMk id="18" creationId="{A0EBC6AB-9A0F-4A4C-98A3-AF34C0AD2B3D}"/>
          </ac:spMkLst>
        </pc:spChg>
        <pc:spChg chg="mod">
          <ac:chgData name="Nathalia Teofilo" userId="a133e4ba-ab9f-49ee-af0a-93e33fb61143" providerId="ADAL" clId="{071E3170-EA50-4495-B6FA-5A37ADF8E860}" dt="2024-03-01T19:36:22.036" v="130" actId="790"/>
          <ac:spMkLst>
            <pc:docMk/>
            <pc:sldMk cId="1498203597" sldId="4067"/>
            <ac:spMk id="19" creationId="{B50C0D46-1346-4DD6-BAB1-1E923BBCB800}"/>
          </ac:spMkLst>
        </pc:spChg>
        <pc:spChg chg="mod">
          <ac:chgData name="Nathalia Teofilo" userId="a133e4ba-ab9f-49ee-af0a-93e33fb61143" providerId="ADAL" clId="{071E3170-EA50-4495-B6FA-5A37ADF8E860}" dt="2024-03-01T19:36:22.039" v="131" actId="790"/>
          <ac:spMkLst>
            <pc:docMk/>
            <pc:sldMk cId="1498203597" sldId="4067"/>
            <ac:spMk id="21" creationId="{F8CAFF7B-DF75-444A-A27C-E447B61EB89C}"/>
          </ac:spMkLst>
        </pc:spChg>
        <pc:spChg chg="mod">
          <ac:chgData name="Nathalia Teofilo" userId="a133e4ba-ab9f-49ee-af0a-93e33fb61143" providerId="ADAL" clId="{071E3170-EA50-4495-B6FA-5A37ADF8E860}" dt="2024-03-01T19:36:22.034" v="129" actId="790"/>
          <ac:spMkLst>
            <pc:docMk/>
            <pc:sldMk cId="1498203597" sldId="4067"/>
            <ac:spMk id="22" creationId="{E4C4306A-D76E-4B85-94C5-43DAAB2FCAA3}"/>
          </ac:spMkLst>
        </pc:spChg>
        <pc:spChg chg="mod">
          <ac:chgData name="Nathalia Teofilo" userId="a133e4ba-ab9f-49ee-af0a-93e33fb61143" providerId="ADAL" clId="{071E3170-EA50-4495-B6FA-5A37ADF8E860}" dt="2024-03-01T19:36:22.040" v="133" actId="790"/>
          <ac:spMkLst>
            <pc:docMk/>
            <pc:sldMk cId="1498203597" sldId="4067"/>
            <ac:spMk id="23" creationId="{179D4380-4DD6-49AE-BF9E-CEE6D9EF2BF9}"/>
          </ac:spMkLst>
        </pc:spChg>
        <pc:spChg chg="mod">
          <ac:chgData name="Nathalia Teofilo" userId="a133e4ba-ab9f-49ee-af0a-93e33fb61143" providerId="ADAL" clId="{071E3170-EA50-4495-B6FA-5A37ADF8E860}" dt="2024-03-01T19:36:22.041" v="134" actId="790"/>
          <ac:spMkLst>
            <pc:docMk/>
            <pc:sldMk cId="1498203597" sldId="4067"/>
            <ac:spMk id="30" creationId="{68CA50C3-C018-4B2A-A699-32778A1B725F}"/>
          </ac:spMkLst>
        </pc:spChg>
      </pc:sldChg>
      <pc:sldChg chg="addSp delSp modSp add mod ord replTag addCm modNotes">
        <pc:chgData name="Nathalia Teofilo" userId="a133e4ba-ab9f-49ee-af0a-93e33fb61143" providerId="ADAL" clId="{071E3170-EA50-4495-B6FA-5A37ADF8E860}" dt="2024-03-04T19:57:33.047" v="1430"/>
        <pc:sldMkLst>
          <pc:docMk/>
          <pc:sldMk cId="2225293444" sldId="2147470420"/>
        </pc:sldMkLst>
        <pc:spChg chg="mod">
          <ac:chgData name="Nathalia Teofilo" userId="a133e4ba-ab9f-49ee-af0a-93e33fb61143" providerId="ADAL" clId="{071E3170-EA50-4495-B6FA-5A37ADF8E860}" dt="2024-03-01T19:35:20.315" v="79" actId="790"/>
          <ac:spMkLst>
            <pc:docMk/>
            <pc:sldMk cId="2225293444" sldId="2147470420"/>
            <ac:spMk id="2" creationId="{5A5D3E57-B282-4F58-B9A7-0CC05C672544}"/>
          </ac:spMkLst>
        </pc:spChg>
        <pc:spChg chg="add del mod">
          <ac:chgData name="Nathalia Teofilo" userId="a133e4ba-ab9f-49ee-af0a-93e33fb61143" providerId="ADAL" clId="{071E3170-EA50-4495-B6FA-5A37ADF8E860}" dt="2024-03-04T17:17:56.743" v="179" actId="478"/>
          <ac:spMkLst>
            <pc:docMk/>
            <pc:sldMk cId="2225293444" sldId="2147470420"/>
            <ac:spMk id="3" creationId="{25892C4E-18B8-6C4A-6AA2-67092E89947B}"/>
          </ac:spMkLst>
        </pc:spChg>
        <pc:spChg chg="del">
          <ac:chgData name="Nathalia Teofilo" userId="a133e4ba-ab9f-49ee-af0a-93e33fb61143" providerId="ADAL" clId="{071E3170-EA50-4495-B6FA-5A37ADF8E860}" dt="2024-03-01T19:35:20.312" v="71"/>
          <ac:spMkLst>
            <pc:docMk/>
            <pc:sldMk cId="2225293444" sldId="2147470420"/>
            <ac:spMk id="3" creationId="{F7DC357D-927A-4AC5-85C4-F489D7F85CFF}"/>
          </ac:spMkLst>
        </pc:spChg>
        <pc:spChg chg="add mod">
          <ac:chgData name="Nathalia Teofilo" userId="a133e4ba-ab9f-49ee-af0a-93e33fb61143" providerId="ADAL" clId="{071E3170-EA50-4495-B6FA-5A37ADF8E860}" dt="2024-03-01T19:35:20.344" v="104" actId="790"/>
          <ac:spMkLst>
            <pc:docMk/>
            <pc:sldMk cId="2225293444" sldId="2147470420"/>
            <ac:spMk id="5" creationId="{F9165B90-2086-B053-5A5B-CE2C52315524}"/>
          </ac:spMkLst>
        </pc:spChg>
        <pc:spChg chg="add del mod">
          <ac:chgData name="Nathalia Teofilo" userId="a133e4ba-ab9f-49ee-af0a-93e33fb61143" providerId="ADAL" clId="{071E3170-EA50-4495-B6FA-5A37ADF8E860}" dt="2024-03-04T17:12:51.499" v="157" actId="478"/>
          <ac:spMkLst>
            <pc:docMk/>
            <pc:sldMk cId="2225293444" sldId="2147470420"/>
            <ac:spMk id="6" creationId="{EF48FD99-CE96-CD43-E4FD-1789F6877C7D}"/>
          </ac:spMkLst>
        </pc:spChg>
        <pc:spChg chg="add mod">
          <ac:chgData name="Nathalia Teofilo" userId="a133e4ba-ab9f-49ee-af0a-93e33fb61143" providerId="ADAL" clId="{071E3170-EA50-4495-B6FA-5A37ADF8E860}" dt="2024-03-04T17:17:57.101" v="180"/>
          <ac:spMkLst>
            <pc:docMk/>
            <pc:sldMk cId="2225293444" sldId="2147470420"/>
            <ac:spMk id="7" creationId="{F28B54E5-B714-23A2-D48F-5E9051E8A974}"/>
          </ac:spMkLst>
        </pc:spChg>
        <pc:spChg chg="del">
          <ac:chgData name="Nathalia Teofilo" userId="a133e4ba-ab9f-49ee-af0a-93e33fb61143" providerId="ADAL" clId="{071E3170-EA50-4495-B6FA-5A37ADF8E860}" dt="2024-03-01T19:35:20.312" v="72"/>
          <ac:spMkLst>
            <pc:docMk/>
            <pc:sldMk cId="2225293444" sldId="2147470420"/>
            <ac:spMk id="8" creationId="{610FD5A6-77B7-4404-B7B8-E3E5BA6C9114}"/>
          </ac:spMkLst>
        </pc:spChg>
        <pc:spChg chg="del">
          <ac:chgData name="Nathalia Teofilo" userId="a133e4ba-ab9f-49ee-af0a-93e33fb61143" providerId="ADAL" clId="{071E3170-EA50-4495-B6FA-5A37ADF8E860}" dt="2024-03-01T19:35:20.313" v="74"/>
          <ac:spMkLst>
            <pc:docMk/>
            <pc:sldMk cId="2225293444" sldId="2147470420"/>
            <ac:spMk id="10" creationId="{79FDE0FF-1777-48B0-98CD-B89C811F19BE}"/>
          </ac:spMkLst>
        </pc:spChg>
        <pc:spChg chg="mod">
          <ac:chgData name="Nathalia Teofilo" userId="a133e4ba-ab9f-49ee-af0a-93e33fb61143" providerId="ADAL" clId="{071E3170-EA50-4495-B6FA-5A37ADF8E860}" dt="2024-03-01T19:35:20.338" v="102" actId="790"/>
          <ac:spMkLst>
            <pc:docMk/>
            <pc:sldMk cId="2225293444" sldId="2147470420"/>
            <ac:spMk id="33" creationId="{864BE18A-C68A-4843-ACA0-91C3080C3657}"/>
          </ac:spMkLst>
        </pc:spChg>
        <pc:spChg chg="mod">
          <ac:chgData name="Nathalia Teofilo" userId="a133e4ba-ab9f-49ee-af0a-93e33fb61143" providerId="ADAL" clId="{071E3170-EA50-4495-B6FA-5A37ADF8E860}" dt="2024-03-01T19:35:20.342" v="103" actId="790"/>
          <ac:spMkLst>
            <pc:docMk/>
            <pc:sldMk cId="2225293444" sldId="2147470420"/>
            <ac:spMk id="34" creationId="{81E6C461-893A-45EB-ACA7-599188161F9D}"/>
          </ac:spMkLst>
        </pc:spChg>
        <pc:spChg chg="mod">
          <ac:chgData name="Nathalia Teofilo" userId="a133e4ba-ab9f-49ee-af0a-93e33fb61143" providerId="ADAL" clId="{071E3170-EA50-4495-B6FA-5A37ADF8E860}" dt="2024-03-01T19:35:20.316" v="80" actId="790"/>
          <ac:spMkLst>
            <pc:docMk/>
            <pc:sldMk cId="2225293444" sldId="2147470420"/>
            <ac:spMk id="126" creationId="{48C7DBDC-26E5-46A8-BAE8-A6DC63674EE6}"/>
          </ac:spMkLst>
        </pc:spChg>
        <pc:spChg chg="mod">
          <ac:chgData name="Nathalia Teofilo" userId="a133e4ba-ab9f-49ee-af0a-93e33fb61143" providerId="ADAL" clId="{071E3170-EA50-4495-B6FA-5A37ADF8E860}" dt="2024-03-01T19:35:20.317" v="81" actId="790"/>
          <ac:spMkLst>
            <pc:docMk/>
            <pc:sldMk cId="2225293444" sldId="2147470420"/>
            <ac:spMk id="127" creationId="{04C87078-9232-490D-91D0-290619AF89C6}"/>
          </ac:spMkLst>
        </pc:spChg>
        <pc:spChg chg="mod">
          <ac:chgData name="Nathalia Teofilo" userId="a133e4ba-ab9f-49ee-af0a-93e33fb61143" providerId="ADAL" clId="{071E3170-EA50-4495-B6FA-5A37ADF8E860}" dt="2024-03-01T19:35:20.317" v="82" actId="790"/>
          <ac:spMkLst>
            <pc:docMk/>
            <pc:sldMk cId="2225293444" sldId="2147470420"/>
            <ac:spMk id="128" creationId="{07C7DC27-CE2F-4CC9-BB8F-36452937E7D9}"/>
          </ac:spMkLst>
        </pc:spChg>
        <pc:spChg chg="mod">
          <ac:chgData name="Nathalia Teofilo" userId="a133e4ba-ab9f-49ee-af0a-93e33fb61143" providerId="ADAL" clId="{071E3170-EA50-4495-B6FA-5A37ADF8E860}" dt="2024-03-01T19:35:20.318" v="83" actId="790"/>
          <ac:spMkLst>
            <pc:docMk/>
            <pc:sldMk cId="2225293444" sldId="2147470420"/>
            <ac:spMk id="129" creationId="{B1B9EBD4-9017-43EE-A978-994A67331EA9}"/>
          </ac:spMkLst>
        </pc:spChg>
        <pc:spChg chg="mod">
          <ac:chgData name="Nathalia Teofilo" userId="a133e4ba-ab9f-49ee-af0a-93e33fb61143" providerId="ADAL" clId="{071E3170-EA50-4495-B6FA-5A37ADF8E860}" dt="2024-03-01T19:35:20.318" v="84" actId="790"/>
          <ac:spMkLst>
            <pc:docMk/>
            <pc:sldMk cId="2225293444" sldId="2147470420"/>
            <ac:spMk id="130" creationId="{C4FB04FF-09B7-43FF-ACF3-D395B823161A}"/>
          </ac:spMkLst>
        </pc:spChg>
        <pc:spChg chg="mod">
          <ac:chgData name="Nathalia Teofilo" userId="a133e4ba-ab9f-49ee-af0a-93e33fb61143" providerId="ADAL" clId="{071E3170-EA50-4495-B6FA-5A37ADF8E860}" dt="2024-03-01T19:35:20.319" v="85" actId="790"/>
          <ac:spMkLst>
            <pc:docMk/>
            <pc:sldMk cId="2225293444" sldId="2147470420"/>
            <ac:spMk id="132" creationId="{EA181ABD-4029-4B4D-AAD2-2D9D47B59975}"/>
          </ac:spMkLst>
        </pc:spChg>
        <pc:spChg chg="mod">
          <ac:chgData name="Nathalia Teofilo" userId="a133e4ba-ab9f-49ee-af0a-93e33fb61143" providerId="ADAL" clId="{071E3170-EA50-4495-B6FA-5A37ADF8E860}" dt="2024-03-01T19:35:20.320" v="86" actId="790"/>
          <ac:spMkLst>
            <pc:docMk/>
            <pc:sldMk cId="2225293444" sldId="2147470420"/>
            <ac:spMk id="133" creationId="{3E499A9F-ADC1-4871-B50D-1369D32BA678}"/>
          </ac:spMkLst>
        </pc:spChg>
        <pc:spChg chg="mod">
          <ac:chgData name="Nathalia Teofilo" userId="a133e4ba-ab9f-49ee-af0a-93e33fb61143" providerId="ADAL" clId="{071E3170-EA50-4495-B6FA-5A37ADF8E860}" dt="2024-03-01T19:35:20.321" v="87" actId="790"/>
          <ac:spMkLst>
            <pc:docMk/>
            <pc:sldMk cId="2225293444" sldId="2147470420"/>
            <ac:spMk id="134" creationId="{2C5E6849-D4A6-4B1E-B82A-89FF80F268E2}"/>
          </ac:spMkLst>
        </pc:spChg>
        <pc:spChg chg="mod">
          <ac:chgData name="Nathalia Teofilo" userId="a133e4ba-ab9f-49ee-af0a-93e33fb61143" providerId="ADAL" clId="{071E3170-EA50-4495-B6FA-5A37ADF8E860}" dt="2024-03-01T19:35:20.323" v="88" actId="790"/>
          <ac:spMkLst>
            <pc:docMk/>
            <pc:sldMk cId="2225293444" sldId="2147470420"/>
            <ac:spMk id="135" creationId="{C0502193-3B18-49FC-8055-CA0031A42DB8}"/>
          </ac:spMkLst>
        </pc:spChg>
        <pc:spChg chg="mod">
          <ac:chgData name="Nathalia Teofilo" userId="a133e4ba-ab9f-49ee-af0a-93e33fb61143" providerId="ADAL" clId="{071E3170-EA50-4495-B6FA-5A37ADF8E860}" dt="2024-03-01T19:35:20.325" v="89" actId="790"/>
          <ac:spMkLst>
            <pc:docMk/>
            <pc:sldMk cId="2225293444" sldId="2147470420"/>
            <ac:spMk id="136" creationId="{00111A7E-319F-4FB4-BE36-C2C1DEFFB1DC}"/>
          </ac:spMkLst>
        </pc:spChg>
        <pc:spChg chg="mod">
          <ac:chgData name="Nathalia Teofilo" userId="a133e4ba-ab9f-49ee-af0a-93e33fb61143" providerId="ADAL" clId="{071E3170-EA50-4495-B6FA-5A37ADF8E860}" dt="2024-03-01T19:35:20.328" v="90" actId="790"/>
          <ac:spMkLst>
            <pc:docMk/>
            <pc:sldMk cId="2225293444" sldId="2147470420"/>
            <ac:spMk id="137" creationId="{32D37405-C21B-4909-8ED5-97A72ED3A4EA}"/>
          </ac:spMkLst>
        </pc:spChg>
        <pc:spChg chg="mod">
          <ac:chgData name="Nathalia Teofilo" userId="a133e4ba-ab9f-49ee-af0a-93e33fb61143" providerId="ADAL" clId="{071E3170-EA50-4495-B6FA-5A37ADF8E860}" dt="2024-03-01T19:35:20.328" v="91" actId="790"/>
          <ac:spMkLst>
            <pc:docMk/>
            <pc:sldMk cId="2225293444" sldId="2147470420"/>
            <ac:spMk id="138" creationId="{C6293BD8-FC2C-45E8-BAEF-E3D5F5AD326D}"/>
          </ac:spMkLst>
        </pc:spChg>
        <pc:spChg chg="mod">
          <ac:chgData name="Nathalia Teofilo" userId="a133e4ba-ab9f-49ee-af0a-93e33fb61143" providerId="ADAL" clId="{071E3170-EA50-4495-B6FA-5A37ADF8E860}" dt="2024-03-01T19:35:20.329" v="92" actId="790"/>
          <ac:spMkLst>
            <pc:docMk/>
            <pc:sldMk cId="2225293444" sldId="2147470420"/>
            <ac:spMk id="139" creationId="{7798D5A9-2B62-48E7-B3ED-84D437725C1C}"/>
          </ac:spMkLst>
        </pc:spChg>
        <pc:spChg chg="mod">
          <ac:chgData name="Nathalia Teofilo" userId="a133e4ba-ab9f-49ee-af0a-93e33fb61143" providerId="ADAL" clId="{071E3170-EA50-4495-B6FA-5A37ADF8E860}" dt="2024-03-01T19:35:20.329" v="93" actId="790"/>
          <ac:spMkLst>
            <pc:docMk/>
            <pc:sldMk cId="2225293444" sldId="2147470420"/>
            <ac:spMk id="140" creationId="{50CD5B7B-0BEE-4E4D-9291-17BC35CD6487}"/>
          </ac:spMkLst>
        </pc:spChg>
        <pc:spChg chg="mod">
          <ac:chgData name="Nathalia Teofilo" userId="a133e4ba-ab9f-49ee-af0a-93e33fb61143" providerId="ADAL" clId="{071E3170-EA50-4495-B6FA-5A37ADF8E860}" dt="2024-03-01T19:35:20.330" v="94" actId="790"/>
          <ac:spMkLst>
            <pc:docMk/>
            <pc:sldMk cId="2225293444" sldId="2147470420"/>
            <ac:spMk id="141" creationId="{B5D60C92-A39F-44FA-AA35-D671A1DA1FA1}"/>
          </ac:spMkLst>
        </pc:spChg>
        <pc:spChg chg="mod">
          <ac:chgData name="Nathalia Teofilo" userId="a133e4ba-ab9f-49ee-af0a-93e33fb61143" providerId="ADAL" clId="{071E3170-EA50-4495-B6FA-5A37ADF8E860}" dt="2024-03-01T19:35:20.330" v="95" actId="790"/>
          <ac:spMkLst>
            <pc:docMk/>
            <pc:sldMk cId="2225293444" sldId="2147470420"/>
            <ac:spMk id="142" creationId="{A11E0A49-DFEC-4FEC-9006-D163A07E1A3F}"/>
          </ac:spMkLst>
        </pc:spChg>
        <pc:spChg chg="mod">
          <ac:chgData name="Nathalia Teofilo" userId="a133e4ba-ab9f-49ee-af0a-93e33fb61143" providerId="ADAL" clId="{071E3170-EA50-4495-B6FA-5A37ADF8E860}" dt="2024-03-01T19:35:20.331" v="96" actId="790"/>
          <ac:spMkLst>
            <pc:docMk/>
            <pc:sldMk cId="2225293444" sldId="2147470420"/>
            <ac:spMk id="143" creationId="{D80B714F-47FB-4597-8A54-88D14EBDAA48}"/>
          </ac:spMkLst>
        </pc:spChg>
        <pc:spChg chg="mod">
          <ac:chgData name="Nathalia Teofilo" userId="a133e4ba-ab9f-49ee-af0a-93e33fb61143" providerId="ADAL" clId="{071E3170-EA50-4495-B6FA-5A37ADF8E860}" dt="2024-03-01T19:35:20.331" v="97" actId="790"/>
          <ac:spMkLst>
            <pc:docMk/>
            <pc:sldMk cId="2225293444" sldId="2147470420"/>
            <ac:spMk id="145" creationId="{0885C503-B1EB-4C09-BE9F-CBED5B62C451}"/>
          </ac:spMkLst>
        </pc:spChg>
        <pc:spChg chg="mod">
          <ac:chgData name="Nathalia Teofilo" userId="a133e4ba-ab9f-49ee-af0a-93e33fb61143" providerId="ADAL" clId="{071E3170-EA50-4495-B6FA-5A37ADF8E860}" dt="2024-03-01T19:35:20.333" v="98" actId="790"/>
          <ac:spMkLst>
            <pc:docMk/>
            <pc:sldMk cId="2225293444" sldId="2147470420"/>
            <ac:spMk id="146" creationId="{FC9B9A47-C50A-4871-803C-FF9C8DAA9AC7}"/>
          </ac:spMkLst>
        </pc:spChg>
        <pc:spChg chg="mod">
          <ac:chgData name="Nathalia Teofilo" userId="a133e4ba-ab9f-49ee-af0a-93e33fb61143" providerId="ADAL" clId="{071E3170-EA50-4495-B6FA-5A37ADF8E860}" dt="2024-03-01T19:35:20.334" v="99" actId="790"/>
          <ac:spMkLst>
            <pc:docMk/>
            <pc:sldMk cId="2225293444" sldId="2147470420"/>
            <ac:spMk id="147" creationId="{4B271B6E-B7EA-4AFC-86A9-3651D640031B}"/>
          </ac:spMkLst>
        </pc:spChg>
        <pc:spChg chg="mod">
          <ac:chgData name="Nathalia Teofilo" userId="a133e4ba-ab9f-49ee-af0a-93e33fb61143" providerId="ADAL" clId="{071E3170-EA50-4495-B6FA-5A37ADF8E860}" dt="2024-03-01T19:35:20.335" v="100" actId="790"/>
          <ac:spMkLst>
            <pc:docMk/>
            <pc:sldMk cId="2225293444" sldId="2147470420"/>
            <ac:spMk id="148" creationId="{C6B63EE6-057A-4D8F-B6BF-FA95BF250B75}"/>
          </ac:spMkLst>
        </pc:spChg>
        <pc:spChg chg="mod">
          <ac:chgData name="Nathalia Teofilo" userId="a133e4ba-ab9f-49ee-af0a-93e33fb61143" providerId="ADAL" clId="{071E3170-EA50-4495-B6FA-5A37ADF8E860}" dt="2024-03-01T19:35:20.315" v="78" actId="790"/>
          <ac:spMkLst>
            <pc:docMk/>
            <pc:sldMk cId="2225293444" sldId="2147470420"/>
            <ac:spMk id="150" creationId="{BFB6F8D7-5C4D-4B63-87F8-449A4D1CC811}"/>
          </ac:spMkLst>
        </pc:spChg>
        <pc:spChg chg="mod">
          <ac:chgData name="Nathalia Teofilo" userId="a133e4ba-ab9f-49ee-af0a-93e33fb61143" providerId="ADAL" clId="{071E3170-EA50-4495-B6FA-5A37ADF8E860}" dt="2024-03-01T19:35:20.314" v="77" actId="790"/>
          <ac:spMkLst>
            <pc:docMk/>
            <pc:sldMk cId="2225293444" sldId="2147470420"/>
            <ac:spMk id="151" creationId="{540E0F46-F7C7-4748-8489-09B70EF6DBDA}"/>
          </ac:spMkLst>
        </pc:spChg>
        <pc:spChg chg="mod">
          <ac:chgData name="Nathalia Teofilo" userId="a133e4ba-ab9f-49ee-af0a-93e33fb61143" providerId="ADAL" clId="{071E3170-EA50-4495-B6FA-5A37ADF8E860}" dt="2024-03-01T19:35:20.336" v="101" actId="790"/>
          <ac:spMkLst>
            <pc:docMk/>
            <pc:sldMk cId="2225293444" sldId="2147470420"/>
            <ac:spMk id="152" creationId="{04B339DA-9C4C-4B87-85C9-869055D8F56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thalia Teofilo" userId="a133e4ba-ab9f-49ee-af0a-93e33fb61143" providerId="ADAL" clId="{071E3170-EA50-4495-B6FA-5A37ADF8E860}" dt="2024-03-04T19:57:33.047" v="1430"/>
              <pc2:cmMkLst xmlns:pc2="http://schemas.microsoft.com/office/powerpoint/2019/9/main/command">
                <pc:docMk/>
                <pc:sldMk cId="2225293444" sldId="2147470420"/>
                <pc2:cmMk id="{3EE47726-BF30-48A3-BF18-CEBB479EFE3F}"/>
              </pc2:cmMkLst>
            </pc226:cmChg>
            <pc226:cmChg xmlns:pc226="http://schemas.microsoft.com/office/powerpoint/2022/06/main/command" chg="add">
              <pc226:chgData name="Nathalia Teofilo" userId="a133e4ba-ab9f-49ee-af0a-93e33fb61143" providerId="ADAL" clId="{071E3170-EA50-4495-B6FA-5A37ADF8E860}" dt="2024-03-01T19:35:55.398" v="111"/>
              <pc2:cmMkLst xmlns:pc2="http://schemas.microsoft.com/office/powerpoint/2019/9/main/command">
                <pc:docMk/>
                <pc:sldMk cId="2225293444" sldId="2147470420"/>
                <pc2:cmMk id="{AF0E5FB3-B393-457C-B043-3EDEF8CFB90C}"/>
              </pc2:cmMkLst>
            </pc226:cmChg>
          </p:ext>
        </pc:extLst>
      </pc:sldChg>
      <pc:sldChg chg="addSp delSp modSp mod addCm delCm">
        <pc:chgData name="Nathalia Teofilo" userId="a133e4ba-ab9f-49ee-af0a-93e33fb61143" providerId="ADAL" clId="{071E3170-EA50-4495-B6FA-5A37ADF8E860}" dt="2024-03-04T17:23:28.146" v="266"/>
        <pc:sldMkLst>
          <pc:docMk/>
          <pc:sldMk cId="1863582861" sldId="2147470422"/>
        </pc:sldMkLst>
        <pc:spChg chg="del">
          <ac:chgData name="Nathalia Teofilo" userId="a133e4ba-ab9f-49ee-af0a-93e33fb61143" providerId="ADAL" clId="{071E3170-EA50-4495-B6FA-5A37ADF8E860}" dt="2024-03-04T17:11:58.911" v="149" actId="478"/>
          <ac:spMkLst>
            <pc:docMk/>
            <pc:sldMk cId="1863582861" sldId="2147470422"/>
            <ac:spMk id="4" creationId="{62F0B72E-F492-E2DF-1A53-2B6D5C10C953}"/>
          </ac:spMkLst>
        </pc:spChg>
        <pc:spChg chg="mod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5" creationId="{965DF2FB-3419-E92F-0C22-384C4CFE3A82}"/>
          </ac:spMkLst>
        </pc:spChg>
        <pc:spChg chg="mod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7" creationId="{67E5F6BA-3DEC-7A02-B683-2F8FAEC38661}"/>
          </ac:spMkLst>
        </pc:spChg>
        <pc:spChg chg="add mod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8" creationId="{CFA73B8F-5ED1-4B89-9CDE-33F17514F989}"/>
          </ac:spMkLst>
        </pc:spChg>
        <pc:spChg chg="add del">
          <ac:chgData name="Nathalia Teofilo" userId="a133e4ba-ab9f-49ee-af0a-93e33fb61143" providerId="ADAL" clId="{071E3170-EA50-4495-B6FA-5A37ADF8E860}" dt="2024-03-04T17:17:31.583" v="172" actId="478"/>
          <ac:spMkLst>
            <pc:docMk/>
            <pc:sldMk cId="1863582861" sldId="2147470422"/>
            <ac:spMk id="9" creationId="{FC0A4BA0-AC93-2291-2907-418A28EF9016}"/>
          </ac:spMkLst>
        </pc:spChg>
        <pc:spChg chg="mod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10" creationId="{9208801C-78BF-26BD-8742-FEFB7BAD4252}"/>
          </ac:spMkLst>
        </pc:spChg>
        <pc:spChg chg="mod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11" creationId="{4388FBA2-22F6-6990-EB13-3F2D378A98A4}"/>
          </ac:spMkLst>
        </pc:spChg>
        <pc:spChg chg="mod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12" creationId="{C39291B8-CE2C-B475-3199-0CC31F658FD0}"/>
          </ac:spMkLst>
        </pc:spChg>
        <pc:spChg chg="del">
          <ac:chgData name="Nathalia Teofilo" userId="a133e4ba-ab9f-49ee-af0a-93e33fb61143" providerId="ADAL" clId="{071E3170-EA50-4495-B6FA-5A37ADF8E860}" dt="2024-03-04T17:20:03.588" v="198" actId="478"/>
          <ac:spMkLst>
            <pc:docMk/>
            <pc:sldMk cId="1863582861" sldId="2147470422"/>
            <ac:spMk id="13" creationId="{4FE3B5C5-BCEF-4FAD-D014-4EC2DCDE2E06}"/>
          </ac:spMkLst>
        </pc:spChg>
        <pc:spChg chg="mod topLvl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15" creationId="{FD10A6EE-AA57-42F5-9025-C6DBE5139966}"/>
          </ac:spMkLst>
        </pc:spChg>
        <pc:spChg chg="mod topLvl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16" creationId="{BD5E17CF-149E-465A-A865-37E34B969414}"/>
          </ac:spMkLst>
        </pc:spChg>
        <pc:spChg chg="mod topLvl">
          <ac:chgData name="Nathalia Teofilo" userId="a133e4ba-ab9f-49ee-af0a-93e33fb61143" providerId="ADAL" clId="{071E3170-EA50-4495-B6FA-5A37ADF8E860}" dt="2024-03-04T17:21:02.305" v="259" actId="207"/>
          <ac:spMkLst>
            <pc:docMk/>
            <pc:sldMk cId="1863582861" sldId="2147470422"/>
            <ac:spMk id="17" creationId="{CA7B6EA8-9706-453B-88F1-2F5F1468B23B}"/>
          </ac:spMkLst>
        </pc:spChg>
        <pc:spChg chg="mod topLvl">
          <ac:chgData name="Nathalia Teofilo" userId="a133e4ba-ab9f-49ee-af0a-93e33fb61143" providerId="ADAL" clId="{071E3170-EA50-4495-B6FA-5A37ADF8E860}" dt="2024-03-04T17:20:35.484" v="241" actId="12788"/>
          <ac:spMkLst>
            <pc:docMk/>
            <pc:sldMk cId="1863582861" sldId="2147470422"/>
            <ac:spMk id="19" creationId="{4A2E14C8-1855-4999-BBA3-B2FE6CA61294}"/>
          </ac:spMkLst>
        </pc:spChg>
        <pc:spChg chg="mod topLvl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20" creationId="{D2A043D1-E2C3-454B-8F14-475FC3B30FDD}"/>
          </ac:spMkLst>
        </pc:spChg>
        <pc:spChg chg="mod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22" creationId="{8614979E-6DF3-BF82-03B7-6B6AEA494BF0}"/>
          </ac:spMkLst>
        </pc:spChg>
        <pc:spChg chg="mod">
          <ac:chgData name="Nathalia Teofilo" userId="a133e4ba-ab9f-49ee-af0a-93e33fb61143" providerId="ADAL" clId="{071E3170-EA50-4495-B6FA-5A37ADF8E860}" dt="2024-03-04T17:20:28.761" v="240" actId="12788"/>
          <ac:spMkLst>
            <pc:docMk/>
            <pc:sldMk cId="1863582861" sldId="2147470422"/>
            <ac:spMk id="23" creationId="{C31F9C19-223B-3C08-665D-114524D057FD}"/>
          </ac:spMkLst>
        </pc:spChg>
        <pc:grpChg chg="del">
          <ac:chgData name="Nathalia Teofilo" userId="a133e4ba-ab9f-49ee-af0a-93e33fb61143" providerId="ADAL" clId="{071E3170-EA50-4495-B6FA-5A37ADF8E860}" dt="2024-03-04T17:19:57.056" v="197" actId="165"/>
          <ac:grpSpMkLst>
            <pc:docMk/>
            <pc:sldMk cId="1863582861" sldId="2147470422"/>
            <ac:grpSpMk id="14" creationId="{111794B8-3D10-4EF1-8B45-D6A2C179BE8B}"/>
          </ac:grpSpMkLst>
        </pc:gr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thalia Teofilo" userId="a133e4ba-ab9f-49ee-af0a-93e33fb61143" providerId="ADAL" clId="{071E3170-EA50-4495-B6FA-5A37ADF8E860}" dt="2024-03-04T17:23:14.258" v="265"/>
              <pc2:cmMkLst xmlns:pc2="http://schemas.microsoft.com/office/powerpoint/2019/9/main/command">
                <pc:docMk/>
                <pc:sldMk cId="1863582861" sldId="2147470422"/>
                <pc2:cmMk id="{BF924F24-17E5-48E3-8C89-B6F5BE8B73B1}"/>
              </pc2:cmMkLst>
            </pc226:cmChg>
            <pc226:cmChg xmlns:pc226="http://schemas.microsoft.com/office/powerpoint/2022/06/main/command" chg="add">
              <pc226:chgData name="Nathalia Teofilo" userId="a133e4ba-ab9f-49ee-af0a-93e33fb61143" providerId="ADAL" clId="{071E3170-EA50-4495-B6FA-5A37ADF8E860}" dt="2024-03-04T17:23:28.146" v="266"/>
              <pc2:cmMkLst xmlns:pc2="http://schemas.microsoft.com/office/powerpoint/2019/9/main/command">
                <pc:docMk/>
                <pc:sldMk cId="1863582861" sldId="2147470422"/>
                <pc2:cmMk id="{AB943A92-CFDD-46FB-A13C-53B138E3A6CD}"/>
              </pc2:cmMkLst>
            </pc226:cmChg>
          </p:ext>
        </pc:extLst>
      </pc:sldChg>
      <pc:sldChg chg="addSp delSp mod">
        <pc:chgData name="Nathalia Teofilo" userId="a133e4ba-ab9f-49ee-af0a-93e33fb61143" providerId="ADAL" clId="{071E3170-EA50-4495-B6FA-5A37ADF8E860}" dt="2024-03-04T17:17:33.226" v="174" actId="478"/>
        <pc:sldMkLst>
          <pc:docMk/>
          <pc:sldMk cId="4022858806" sldId="2147470424"/>
        </pc:sldMkLst>
        <pc:spChg chg="add del">
          <ac:chgData name="Nathalia Teofilo" userId="a133e4ba-ab9f-49ee-af0a-93e33fb61143" providerId="ADAL" clId="{071E3170-EA50-4495-B6FA-5A37ADF8E860}" dt="2024-03-04T17:17:33.226" v="174" actId="478"/>
          <ac:spMkLst>
            <pc:docMk/>
            <pc:sldMk cId="4022858806" sldId="2147470424"/>
            <ac:spMk id="4" creationId="{542663A0-3AFA-B00D-0565-62F2AF75DD19}"/>
          </ac:spMkLst>
        </pc:spChg>
      </pc:sldChg>
      <pc:sldChg chg="addSp delSp modSp mod">
        <pc:chgData name="Nathalia Teofilo" userId="a133e4ba-ab9f-49ee-af0a-93e33fb61143" providerId="ADAL" clId="{071E3170-EA50-4495-B6FA-5A37ADF8E860}" dt="2024-03-04T19:56:53.256" v="1429" actId="20577"/>
        <pc:sldMkLst>
          <pc:docMk/>
          <pc:sldMk cId="985166175" sldId="2147470428"/>
        </pc:sldMkLst>
        <pc:spChg chg="add del mod">
          <ac:chgData name="Nathalia Teofilo" userId="a133e4ba-ab9f-49ee-af0a-93e33fb61143" providerId="ADAL" clId="{071E3170-EA50-4495-B6FA-5A37ADF8E860}" dt="2024-03-04T17:18:19.519" v="183" actId="478"/>
          <ac:spMkLst>
            <pc:docMk/>
            <pc:sldMk cId="985166175" sldId="2147470428"/>
            <ac:spMk id="2" creationId="{65F0F35E-B6D2-C445-5FE0-AB21B0E6F00C}"/>
          </ac:spMkLst>
        </pc:spChg>
        <pc:spChg chg="add mod">
          <ac:chgData name="Nathalia Teofilo" userId="a133e4ba-ab9f-49ee-af0a-93e33fb61143" providerId="ADAL" clId="{071E3170-EA50-4495-B6FA-5A37ADF8E860}" dt="2024-03-04T17:13:59.263" v="167" actId="242"/>
          <ac:spMkLst>
            <pc:docMk/>
            <pc:sldMk cId="985166175" sldId="2147470428"/>
            <ac:spMk id="4" creationId="{ACBD6553-7F89-2A64-8492-21495202C650}"/>
          </ac:spMkLst>
        </pc:spChg>
        <pc:spChg chg="add mod">
          <ac:chgData name="Nathalia Teofilo" userId="a133e4ba-ab9f-49ee-af0a-93e33fb61143" providerId="ADAL" clId="{071E3170-EA50-4495-B6FA-5A37ADF8E860}" dt="2024-03-04T17:18:19.745" v="184"/>
          <ac:spMkLst>
            <pc:docMk/>
            <pc:sldMk cId="985166175" sldId="2147470428"/>
            <ac:spMk id="5" creationId="{9378F0BA-4A7E-6B98-F26E-4134B219DC13}"/>
          </ac:spMkLst>
        </pc:spChg>
        <pc:spChg chg="mod">
          <ac:chgData name="Nathalia Teofilo" userId="a133e4ba-ab9f-49ee-af0a-93e33fb61143" providerId="ADAL" clId="{071E3170-EA50-4495-B6FA-5A37ADF8E860}" dt="2024-03-04T19:56:53.256" v="1429" actId="20577"/>
          <ac:spMkLst>
            <pc:docMk/>
            <pc:sldMk cId="985166175" sldId="2147470428"/>
            <ac:spMk id="10" creationId="{84F75D25-4D2D-4DF4-AFE4-B8E3E4509B36}"/>
          </ac:spMkLst>
        </pc:spChg>
      </pc:sldChg>
      <pc:sldChg chg="modSp mod addCm delCm">
        <pc:chgData name="Nathalia Teofilo" userId="a133e4ba-ab9f-49ee-af0a-93e33fb61143" providerId="ADAL" clId="{071E3170-EA50-4495-B6FA-5A37ADF8E860}" dt="2024-03-06T19:20:31.308" v="1432"/>
        <pc:sldMkLst>
          <pc:docMk/>
          <pc:sldMk cId="1815646555" sldId="2147470429"/>
        </pc:sldMkLst>
        <pc:spChg chg="mod">
          <ac:chgData name="Nathalia Teofilo" userId="a133e4ba-ab9f-49ee-af0a-93e33fb61143" providerId="ADAL" clId="{071E3170-EA50-4495-B6FA-5A37ADF8E860}" dt="2024-03-04T17:25:21.570" v="346" actId="6549"/>
          <ac:spMkLst>
            <pc:docMk/>
            <pc:sldMk cId="1815646555" sldId="2147470429"/>
            <ac:spMk id="2" creationId="{0D493B66-1A95-8362-1F09-054D626A7026}"/>
          </ac:spMkLst>
        </pc:spChg>
        <pc:spChg chg="mod">
          <ac:chgData name="Nathalia Teofilo" userId="a133e4ba-ab9f-49ee-af0a-93e33fb61143" providerId="ADAL" clId="{071E3170-EA50-4495-B6FA-5A37ADF8E860}" dt="2024-03-04T19:30:20.877" v="512" actId="207"/>
          <ac:spMkLst>
            <pc:docMk/>
            <pc:sldMk cId="1815646555" sldId="2147470429"/>
            <ac:spMk id="13" creationId="{6B95C3BD-36C8-C463-2D0E-F94DE079D537}"/>
          </ac:spMkLst>
        </pc:spChg>
        <pc:graphicFrameChg chg="mod">
          <ac:chgData name="Nathalia Teofilo" userId="a133e4ba-ab9f-49ee-af0a-93e33fb61143" providerId="ADAL" clId="{071E3170-EA50-4495-B6FA-5A37ADF8E860}" dt="2024-03-04T17:23:00.993" v="264" actId="12789"/>
          <ac:graphicFrameMkLst>
            <pc:docMk/>
            <pc:sldMk cId="1815646555" sldId="2147470429"/>
            <ac:graphicFrameMk id="12" creationId="{6428744C-59BE-6391-42C8-3FB5A24EDEB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thalia Teofilo" userId="a133e4ba-ab9f-49ee-af0a-93e33fb61143" providerId="ADAL" clId="{071E3170-EA50-4495-B6FA-5A37ADF8E860}" dt="2024-03-04T19:30:24.241" v="513"/>
              <pc2:cmMkLst xmlns:pc2="http://schemas.microsoft.com/office/powerpoint/2019/9/main/command">
                <pc:docMk/>
                <pc:sldMk cId="1815646555" sldId="2147470429"/>
                <pc2:cmMk id="{BAEAB13E-4640-49BF-887E-340FB18EF3AB}"/>
              </pc2:cmMkLst>
            </pc226:cmChg>
            <pc226:cmChg xmlns:pc226="http://schemas.microsoft.com/office/powerpoint/2022/06/main/command" chg="del">
              <pc226:chgData name="Nathalia Teofilo" userId="a133e4ba-ab9f-49ee-af0a-93e33fb61143" providerId="ADAL" clId="{071E3170-EA50-4495-B6FA-5A37ADF8E860}" dt="2024-03-06T19:20:31.308" v="1432"/>
              <pc2:cmMkLst xmlns:pc2="http://schemas.microsoft.com/office/powerpoint/2019/9/main/command">
                <pc:docMk/>
                <pc:sldMk cId="1815646555" sldId="2147470429"/>
                <pc2:cmMk id="{6F16586D-065A-4AAA-8EB0-3DEBA3783BAC}"/>
              </pc2:cmMkLst>
            </pc226:cmChg>
          </p:ext>
        </pc:extLst>
      </pc:sldChg>
      <pc:sldChg chg="addSp delSp modSp mod delCm">
        <pc:chgData name="Nathalia Teofilo" userId="a133e4ba-ab9f-49ee-af0a-93e33fb61143" providerId="ADAL" clId="{071E3170-EA50-4495-B6FA-5A37ADF8E860}" dt="2024-03-06T19:45:45.051" v="1521" actId="20577"/>
        <pc:sldMkLst>
          <pc:docMk/>
          <pc:sldMk cId="906068552" sldId="2147470430"/>
        </pc:sldMkLst>
        <pc:spChg chg="mod">
          <ac:chgData name="Nathalia Teofilo" userId="a133e4ba-ab9f-49ee-af0a-93e33fb61143" providerId="ADAL" clId="{071E3170-EA50-4495-B6FA-5A37ADF8E860}" dt="2024-03-06T19:45:45.051" v="1521" actId="20577"/>
          <ac:spMkLst>
            <pc:docMk/>
            <pc:sldMk cId="906068552" sldId="2147470430"/>
            <ac:spMk id="2" creationId="{1C652582-C388-F649-8158-91B5FC542000}"/>
          </ac:spMkLst>
        </pc:spChg>
        <pc:spChg chg="add del mod">
          <ac:chgData name="Nathalia Teofilo" userId="a133e4ba-ab9f-49ee-af0a-93e33fb61143" providerId="ADAL" clId="{071E3170-EA50-4495-B6FA-5A37ADF8E860}" dt="2024-03-04T17:12:34.809" v="154" actId="478"/>
          <ac:spMkLst>
            <pc:docMk/>
            <pc:sldMk cId="906068552" sldId="2147470430"/>
            <ac:spMk id="3" creationId="{CFFEEAB5-508D-5F50-E1DA-3AC4756D8669}"/>
          </ac:spMkLst>
        </pc:spChg>
        <pc:spChg chg="del">
          <ac:chgData name="Nathalia Teofilo" userId="a133e4ba-ab9f-49ee-af0a-93e33fb61143" providerId="ADAL" clId="{071E3170-EA50-4495-B6FA-5A37ADF8E860}" dt="2024-03-04T17:12:31.727" v="152" actId="478"/>
          <ac:spMkLst>
            <pc:docMk/>
            <pc:sldMk cId="906068552" sldId="2147470430"/>
            <ac:spMk id="4" creationId="{736275FE-66AC-75C6-4243-6931E83E3E4D}"/>
          </ac:spMkLst>
        </pc:spChg>
        <pc:spChg chg="add del mod">
          <ac:chgData name="Nathalia Teofilo" userId="a133e4ba-ab9f-49ee-af0a-93e33fb61143" providerId="ADAL" clId="{071E3170-EA50-4495-B6FA-5A37ADF8E860}" dt="2024-03-04T17:18:00.479" v="181" actId="478"/>
          <ac:spMkLst>
            <pc:docMk/>
            <pc:sldMk cId="906068552" sldId="2147470430"/>
            <ac:spMk id="7" creationId="{FC897090-F9D5-F289-FCDC-531E8DE16D3F}"/>
          </ac:spMkLst>
        </pc:spChg>
        <pc:spChg chg="add mod">
          <ac:chgData name="Nathalia Teofilo" userId="a133e4ba-ab9f-49ee-af0a-93e33fb61143" providerId="ADAL" clId="{071E3170-EA50-4495-B6FA-5A37ADF8E860}" dt="2024-03-04T17:18:00.917" v="182"/>
          <ac:spMkLst>
            <pc:docMk/>
            <pc:sldMk cId="906068552" sldId="2147470430"/>
            <ac:spMk id="8" creationId="{CA13A23B-021D-55E1-7186-E43D602B07CB}"/>
          </ac:spMkLst>
        </pc:spChg>
        <pc:spChg chg="mod">
          <ac:chgData name="Nathalia Teofilo" userId="a133e4ba-ab9f-49ee-af0a-93e33fb61143" providerId="ADAL" clId="{071E3170-EA50-4495-B6FA-5A37ADF8E860}" dt="2024-03-04T19:35:16.793" v="675" actId="207"/>
          <ac:spMkLst>
            <pc:docMk/>
            <pc:sldMk cId="906068552" sldId="2147470430"/>
            <ac:spMk id="21" creationId="{7EC210F8-E0A0-54F8-F882-85A822FDC3CA}"/>
          </ac:spMkLst>
        </pc:spChg>
        <pc:spChg chg="mod">
          <ac:chgData name="Nathalia Teofilo" userId="a133e4ba-ab9f-49ee-af0a-93e33fb61143" providerId="ADAL" clId="{071E3170-EA50-4495-B6FA-5A37ADF8E860}" dt="2024-03-04T19:37:44.578" v="941" actId="20577"/>
          <ac:spMkLst>
            <pc:docMk/>
            <pc:sldMk cId="906068552" sldId="2147470430"/>
            <ac:spMk id="24" creationId="{780EC602-A510-4958-0037-CDCC3296643A}"/>
          </ac:spMkLst>
        </pc:spChg>
        <pc:spChg chg="mod">
          <ac:chgData name="Nathalia Teofilo" userId="a133e4ba-ab9f-49ee-af0a-93e33fb61143" providerId="ADAL" clId="{071E3170-EA50-4495-B6FA-5A37ADF8E860}" dt="2024-03-04T19:37:11.508" v="842" actId="20577"/>
          <ac:spMkLst>
            <pc:docMk/>
            <pc:sldMk cId="906068552" sldId="2147470430"/>
            <ac:spMk id="29" creationId="{55CFD0AE-5610-2C95-4600-1D07D107E83F}"/>
          </ac:spMkLst>
        </pc:spChg>
        <pc:spChg chg="mod">
          <ac:chgData name="Nathalia Teofilo" userId="a133e4ba-ab9f-49ee-af0a-93e33fb61143" providerId="ADAL" clId="{071E3170-EA50-4495-B6FA-5A37ADF8E860}" dt="2024-03-04T19:38:04.115" v="942" actId="20577"/>
          <ac:spMkLst>
            <pc:docMk/>
            <pc:sldMk cId="906068552" sldId="2147470430"/>
            <ac:spMk id="32" creationId="{281DBAC0-B365-8025-D9BA-3DB03996C986}"/>
          </ac:spMkLst>
        </pc:spChg>
        <pc:spChg chg="mod">
          <ac:chgData name="Nathalia Teofilo" userId="a133e4ba-ab9f-49ee-af0a-93e33fb61143" providerId="ADAL" clId="{071E3170-EA50-4495-B6FA-5A37ADF8E860}" dt="2024-03-04T19:55:12.624" v="1065" actId="20577"/>
          <ac:spMkLst>
            <pc:docMk/>
            <pc:sldMk cId="906068552" sldId="2147470430"/>
            <ac:spMk id="34" creationId="{91C9687F-9E8B-B430-7D68-E67A43720E35}"/>
          </ac:spMkLst>
        </pc:spChg>
        <pc:spChg chg="mod">
          <ac:chgData name="Nathalia Teofilo" userId="a133e4ba-ab9f-49ee-af0a-93e33fb61143" providerId="ADAL" clId="{071E3170-EA50-4495-B6FA-5A37ADF8E860}" dt="2024-03-04T19:55:40.023" v="1175" actId="20577"/>
          <ac:spMkLst>
            <pc:docMk/>
            <pc:sldMk cId="906068552" sldId="2147470430"/>
            <ac:spMk id="36" creationId="{AC6840DC-A809-2336-BE0E-A6524BB9ED63}"/>
          </ac:spMkLst>
        </pc:spChg>
        <pc:spChg chg="mod">
          <ac:chgData name="Nathalia Teofilo" userId="a133e4ba-ab9f-49ee-af0a-93e33fb61143" providerId="ADAL" clId="{071E3170-EA50-4495-B6FA-5A37ADF8E860}" dt="2024-03-04T19:56:13.392" v="1340" actId="20577"/>
          <ac:spMkLst>
            <pc:docMk/>
            <pc:sldMk cId="906068552" sldId="2147470430"/>
            <ac:spMk id="38" creationId="{19D88546-3E89-F295-13D8-239B1042D9E1}"/>
          </ac:spMkLst>
        </pc:spChg>
        <pc:spChg chg="mod">
          <ac:chgData name="Nathalia Teofilo" userId="a133e4ba-ab9f-49ee-af0a-93e33fb61143" providerId="ADAL" clId="{071E3170-EA50-4495-B6FA-5A37ADF8E860}" dt="2024-03-04T19:56:37.872" v="1428" actId="20577"/>
          <ac:spMkLst>
            <pc:docMk/>
            <pc:sldMk cId="906068552" sldId="2147470430"/>
            <ac:spMk id="40" creationId="{54FC80EE-7657-4BEF-A822-BB7656BD839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071E3170-EA50-4495-B6FA-5A37ADF8E860}" dt="2024-03-06T19:20:39.024" v="1434"/>
              <pc2:cmMkLst xmlns:pc2="http://schemas.microsoft.com/office/powerpoint/2019/9/main/command">
                <pc:docMk/>
                <pc:sldMk cId="906068552" sldId="2147470430"/>
                <pc2:cmMk id="{AC690B1D-7C36-40C8-9FFE-F7BE134EA9E9}"/>
              </pc2:cmMkLst>
            </pc226:cmChg>
          </p:ext>
        </pc:extLst>
      </pc:sldChg>
      <pc:sldChg chg="new del">
        <pc:chgData name="Nathalia Teofilo" userId="a133e4ba-ab9f-49ee-af0a-93e33fb61143" providerId="ADAL" clId="{071E3170-EA50-4495-B6FA-5A37ADF8E860}" dt="2024-03-04T19:45:49.727" v="944" actId="2696"/>
        <pc:sldMkLst>
          <pc:docMk/>
          <pc:sldMk cId="2812773290" sldId="2147470431"/>
        </pc:sldMkLst>
      </pc:sldChg>
      <pc:sldMasterChg chg="delSldLayout modSldLayout">
        <pc:chgData name="Nathalia Teofilo" userId="a133e4ba-ab9f-49ee-af0a-93e33fb61143" providerId="ADAL" clId="{071E3170-EA50-4495-B6FA-5A37ADF8E860}" dt="2024-03-04T17:13:11.458" v="161"/>
        <pc:sldMasterMkLst>
          <pc:docMk/>
          <pc:sldMasterMk cId="3484703908" sldId="2147483735"/>
        </pc:sldMasterMkLst>
        <pc:sldLayoutChg chg="del">
          <pc:chgData name="Nathalia Teofilo" userId="a133e4ba-ab9f-49ee-af0a-93e33fb61143" providerId="ADAL" clId="{071E3170-EA50-4495-B6FA-5A37ADF8E860}" dt="2024-03-01T19:21:40.043" v="38" actId="47"/>
          <pc:sldLayoutMkLst>
            <pc:docMk/>
            <pc:sldMasterMk cId="3484703908" sldId="2147483735"/>
            <pc:sldLayoutMk cId="2185669603" sldId="2147483824"/>
          </pc:sldLayoutMkLst>
        </pc:sldLayoutChg>
        <pc:sldLayoutChg chg="del">
          <pc:chgData name="Nathalia Teofilo" userId="a133e4ba-ab9f-49ee-af0a-93e33fb61143" providerId="ADAL" clId="{071E3170-EA50-4495-B6FA-5A37ADF8E860}" dt="2024-03-01T19:22:00.785" v="60" actId="2696"/>
          <pc:sldLayoutMkLst>
            <pc:docMk/>
            <pc:sldMasterMk cId="3484703908" sldId="2147483735"/>
            <pc:sldLayoutMk cId="2555394664" sldId="2147483824"/>
          </pc:sldLayoutMkLst>
        </pc:sldLayoutChg>
        <pc:sldLayoutChg chg="addSp delSp modSp mod">
          <pc:chgData name="Nathalia Teofilo" userId="a133e4ba-ab9f-49ee-af0a-93e33fb61143" providerId="ADAL" clId="{071E3170-EA50-4495-B6FA-5A37ADF8E860}" dt="2024-03-04T17:13:11.458" v="161"/>
          <pc:sldLayoutMkLst>
            <pc:docMk/>
            <pc:sldMasterMk cId="3484703908" sldId="2147483735"/>
            <pc:sldLayoutMk cId="806133844" sldId="2147483827"/>
          </pc:sldLayoutMkLst>
          <pc:spChg chg="add mod">
            <ac:chgData name="Nathalia Teofilo" userId="a133e4ba-ab9f-49ee-af0a-93e33fb61143" providerId="ADAL" clId="{071E3170-EA50-4495-B6FA-5A37ADF8E860}" dt="2024-03-04T17:13:11.458" v="161"/>
            <ac:spMkLst>
              <pc:docMk/>
              <pc:sldMasterMk cId="3484703908" sldId="2147483735"/>
              <pc:sldLayoutMk cId="806133844" sldId="2147483827"/>
              <ac:spMk id="4" creationId="{E3D536B8-F180-792D-1170-7716535DB1BC}"/>
            </ac:spMkLst>
          </pc:spChg>
          <pc:picChg chg="del">
            <ac:chgData name="Nathalia Teofilo" userId="a133e4ba-ab9f-49ee-af0a-93e33fb61143" providerId="ADAL" clId="{071E3170-EA50-4495-B6FA-5A37ADF8E860}" dt="2024-03-04T17:13:11.028" v="160" actId="478"/>
            <ac:picMkLst>
              <pc:docMk/>
              <pc:sldMasterMk cId="3484703908" sldId="2147483735"/>
              <pc:sldLayoutMk cId="806133844" sldId="2147483827"/>
              <ac:picMk id="8" creationId="{E678DBDE-080C-48C1-B2B5-6B1C4289C2F0}"/>
            </ac:picMkLst>
          </pc:picChg>
        </pc:sldLayoutChg>
      </pc:sldMasterChg>
    </pc:docChg>
  </pc:docChgLst>
  <pc:docChgLst>
    <pc:chgData name="Gregory Rodeheaver" userId="S::vg998@deutsche-boerse.com::40103801-f1c8-4385-9963-f9aaf151c868" providerId="AD" clId="Web-{98BAA8CE-030F-D800-302F-93095CC39134}"/>
    <pc:docChg chg="addSld delSld modSld">
      <pc:chgData name="Gregory Rodeheaver" userId="S::vg998@deutsche-boerse.com::40103801-f1c8-4385-9963-f9aaf151c868" providerId="AD" clId="Web-{98BAA8CE-030F-D800-302F-93095CC39134}" dt="2024-03-01T18:07:26.229" v="349"/>
      <pc:docMkLst>
        <pc:docMk/>
      </pc:docMkLst>
      <pc:sldChg chg="addSp delSp modSp">
        <pc:chgData name="Gregory Rodeheaver" userId="S::vg998@deutsche-boerse.com::40103801-f1c8-4385-9963-f9aaf151c868" providerId="AD" clId="Web-{98BAA8CE-030F-D800-302F-93095CC39134}" dt="2024-03-01T17:53:20.577" v="269" actId="20577"/>
        <pc:sldMkLst>
          <pc:docMk/>
          <pc:sldMk cId="3428418324" sldId="4052"/>
        </pc:sldMkLst>
        <pc:spChg chg="mod">
          <ac:chgData name="Gregory Rodeheaver" userId="S::vg998@deutsche-boerse.com::40103801-f1c8-4385-9963-f9aaf151c868" providerId="AD" clId="Web-{98BAA8CE-030F-D800-302F-93095CC39134}" dt="2024-03-01T17:51:26.851" v="239" actId="20577"/>
          <ac:spMkLst>
            <pc:docMk/>
            <pc:sldMk cId="3428418324" sldId="4052"/>
            <ac:spMk id="4" creationId="{4A000BA2-87D1-420C-8624-CCA3C91B9AC1}"/>
          </ac:spMkLst>
        </pc:spChg>
        <pc:spChg chg="add del mod">
          <ac:chgData name="Gregory Rodeheaver" userId="S::vg998@deutsche-boerse.com::40103801-f1c8-4385-9963-f9aaf151c868" providerId="AD" clId="Web-{98BAA8CE-030F-D800-302F-93095CC39134}" dt="2024-03-01T17:53:20.577" v="269" actId="20577"/>
          <ac:spMkLst>
            <pc:docMk/>
            <pc:sldMk cId="3428418324" sldId="4052"/>
            <ac:spMk id="6" creationId="{683B0918-53CC-40AB-8569-D7BE69030265}"/>
          </ac:spMkLst>
        </pc:spChg>
        <pc:spChg chg="add del mod">
          <ac:chgData name="Gregory Rodeheaver" userId="S::vg998@deutsche-boerse.com::40103801-f1c8-4385-9963-f9aaf151c868" providerId="AD" clId="Web-{98BAA8CE-030F-D800-302F-93095CC39134}" dt="2024-03-01T17:51:31.773" v="241"/>
          <ac:spMkLst>
            <pc:docMk/>
            <pc:sldMk cId="3428418324" sldId="4052"/>
            <ac:spMk id="10" creationId="{C257089A-2A51-0A9A-C702-DF25684C5B36}"/>
          </ac:spMkLst>
        </pc:spChg>
      </pc:sldChg>
      <pc:sldChg chg="modSp">
        <pc:chgData name="Gregory Rodeheaver" userId="S::vg998@deutsche-boerse.com::40103801-f1c8-4385-9963-f9aaf151c868" providerId="AD" clId="Web-{98BAA8CE-030F-D800-302F-93095CC39134}" dt="2024-03-01T17:57:21.500" v="348" actId="20577"/>
        <pc:sldMkLst>
          <pc:docMk/>
          <pc:sldMk cId="1890519334" sldId="4054"/>
        </pc:sldMkLst>
        <pc:spChg chg="mod">
          <ac:chgData name="Gregory Rodeheaver" userId="S::vg998@deutsche-boerse.com::40103801-f1c8-4385-9963-f9aaf151c868" providerId="AD" clId="Web-{98BAA8CE-030F-D800-302F-93095CC39134}" dt="2024-03-01T17:57:21.500" v="348" actId="20577"/>
          <ac:spMkLst>
            <pc:docMk/>
            <pc:sldMk cId="1890519334" sldId="4054"/>
            <ac:spMk id="10" creationId="{E37564C4-3F20-2CAD-FCF6-83E008C5BA52}"/>
          </ac:spMkLst>
        </pc:spChg>
      </pc:sldChg>
      <pc:sldChg chg="delSp modSp add del replId">
        <pc:chgData name="Gregory Rodeheaver" userId="S::vg998@deutsche-boerse.com::40103801-f1c8-4385-9963-f9aaf151c868" providerId="AD" clId="Web-{98BAA8CE-030F-D800-302F-93095CC39134}" dt="2024-03-01T18:07:26.229" v="349"/>
        <pc:sldMkLst>
          <pc:docMk/>
          <pc:sldMk cId="638151885" sldId="4055"/>
        </pc:sldMkLst>
        <pc:spChg chg="mod">
          <ac:chgData name="Gregory Rodeheaver" userId="S::vg998@deutsche-boerse.com::40103801-f1c8-4385-9963-f9aaf151c868" providerId="AD" clId="Web-{98BAA8CE-030F-D800-302F-93095CC39134}" dt="2024-03-01T17:54:06.565" v="284" actId="20577"/>
          <ac:spMkLst>
            <pc:docMk/>
            <pc:sldMk cId="638151885" sldId="4055"/>
            <ac:spMk id="4" creationId="{4A000BA2-87D1-420C-8624-CCA3C91B9AC1}"/>
          </ac:spMkLst>
        </pc:spChg>
        <pc:spChg chg="del">
          <ac:chgData name="Gregory Rodeheaver" userId="S::vg998@deutsche-boerse.com::40103801-f1c8-4385-9963-f9aaf151c868" providerId="AD" clId="Web-{98BAA8CE-030F-D800-302F-93095CC39134}" dt="2024-03-01T17:54:18.737" v="288"/>
          <ac:spMkLst>
            <pc:docMk/>
            <pc:sldMk cId="638151885" sldId="4055"/>
            <ac:spMk id="5" creationId="{C9B44A4A-0AC2-4655-9874-E49E2B6886F6}"/>
          </ac:spMkLst>
        </pc:spChg>
        <pc:spChg chg="del mod">
          <ac:chgData name="Gregory Rodeheaver" userId="S::vg998@deutsche-boerse.com::40103801-f1c8-4385-9963-f9aaf151c868" providerId="AD" clId="Web-{98BAA8CE-030F-D800-302F-93095CC39134}" dt="2024-03-01T17:54:38.848" v="292"/>
          <ac:spMkLst>
            <pc:docMk/>
            <pc:sldMk cId="638151885" sldId="4055"/>
            <ac:spMk id="6" creationId="{683B0918-53CC-40AB-8569-D7BE69030265}"/>
          </ac:spMkLst>
        </pc:spChg>
        <pc:spChg chg="mod">
          <ac:chgData name="Gregory Rodeheaver" userId="S::vg998@deutsche-boerse.com::40103801-f1c8-4385-9963-f9aaf151c868" providerId="AD" clId="Web-{98BAA8CE-030F-D800-302F-93095CC39134}" dt="2024-03-01T17:55:40.134" v="311" actId="20577"/>
          <ac:spMkLst>
            <pc:docMk/>
            <pc:sldMk cId="638151885" sldId="4055"/>
            <ac:spMk id="8" creationId="{80D2CBFC-D31A-477F-AE1E-CE6EBAD2BD45}"/>
          </ac:spMkLst>
        </pc:spChg>
        <pc:picChg chg="mod">
          <ac:chgData name="Gregory Rodeheaver" userId="S::vg998@deutsche-boerse.com::40103801-f1c8-4385-9963-f9aaf151c868" providerId="AD" clId="Web-{98BAA8CE-030F-D800-302F-93095CC39134}" dt="2024-03-01T17:55:03.631" v="293" actId="1076"/>
          <ac:picMkLst>
            <pc:docMk/>
            <pc:sldMk cId="638151885" sldId="4055"/>
            <ac:picMk id="11" creationId="{256170E1-3CDE-4729-8951-EB4192D50EA3}"/>
          </ac:picMkLst>
        </pc:picChg>
        <pc:picChg chg="del">
          <ac:chgData name="Gregory Rodeheaver" userId="S::vg998@deutsche-boerse.com::40103801-f1c8-4385-9963-f9aaf151c868" providerId="AD" clId="Web-{98BAA8CE-030F-D800-302F-93095CC39134}" dt="2024-03-01T17:54:15.003" v="285"/>
          <ac:picMkLst>
            <pc:docMk/>
            <pc:sldMk cId="638151885" sldId="4055"/>
            <ac:picMk id="15" creationId="{4E055F04-3E8B-4C30-9B44-3C329BCE8E62}"/>
          </ac:picMkLst>
        </pc:picChg>
        <pc:picChg chg="del">
          <ac:chgData name="Gregory Rodeheaver" userId="S::vg998@deutsche-boerse.com::40103801-f1c8-4385-9963-f9aaf151c868" providerId="AD" clId="Web-{98BAA8CE-030F-D800-302F-93095CC39134}" dt="2024-03-01T17:54:16.612" v="287"/>
          <ac:picMkLst>
            <pc:docMk/>
            <pc:sldMk cId="638151885" sldId="4055"/>
            <ac:picMk id="16" creationId="{12F347E5-144E-435C-AD04-D4533D784278}"/>
          </ac:picMkLst>
        </pc:picChg>
        <pc:picChg chg="del">
          <ac:chgData name="Gregory Rodeheaver" userId="S::vg998@deutsche-boerse.com::40103801-f1c8-4385-9963-f9aaf151c868" providerId="AD" clId="Web-{98BAA8CE-030F-D800-302F-93095CC39134}" dt="2024-03-01T17:54:15.862" v="286"/>
          <ac:picMkLst>
            <pc:docMk/>
            <pc:sldMk cId="638151885" sldId="4055"/>
            <ac:picMk id="17" creationId="{47CBC302-8C55-46E5-A4D0-72399859930C}"/>
          </ac:picMkLst>
        </pc:picChg>
      </pc:sldChg>
    </pc:docChg>
  </pc:docChgLst>
  <pc:docChgLst>
    <pc:chgData name="Nathalia Teofilo" userId="S::pe281@deutsche-boerse.com::a133e4ba-ab9f-49ee-af0a-93e33fb61143" providerId="AD" clId="Web-{1391DF47-62E1-0238-4859-15373D9A843E}"/>
    <pc:docChg chg="modSld">
      <pc:chgData name="Nathalia Teofilo" userId="S::pe281@deutsche-boerse.com::a133e4ba-ab9f-49ee-af0a-93e33fb61143" providerId="AD" clId="Web-{1391DF47-62E1-0238-4859-15373D9A843E}" dt="2024-03-04T17:10:22.071" v="8" actId="20577"/>
      <pc:docMkLst>
        <pc:docMk/>
      </pc:docMkLst>
      <pc:sldChg chg="addSp modSp">
        <pc:chgData name="Nathalia Teofilo" userId="S::pe281@deutsche-boerse.com::a133e4ba-ab9f-49ee-af0a-93e33fb61143" providerId="AD" clId="Web-{1391DF47-62E1-0238-4859-15373D9A843E}" dt="2024-03-04T17:09:44.741" v="1"/>
        <pc:sldMkLst>
          <pc:docMk/>
          <pc:sldMk cId="1120281149" sldId="265"/>
        </pc:sldMkLst>
        <pc:spChg chg="add mod">
          <ac:chgData name="Nathalia Teofilo" userId="S::pe281@deutsche-boerse.com::a133e4ba-ab9f-49ee-af0a-93e33fb61143" providerId="AD" clId="Web-{1391DF47-62E1-0238-4859-15373D9A843E}" dt="2024-03-04T17:09:38.788" v="0"/>
          <ac:spMkLst>
            <pc:docMk/>
            <pc:sldMk cId="1120281149" sldId="265"/>
            <ac:spMk id="3" creationId="{AB4380BF-52D0-E893-B663-09C08EAB14A4}"/>
          </ac:spMkLst>
        </pc:spChg>
        <pc:spChg chg="add mod">
          <ac:chgData name="Nathalia Teofilo" userId="S::pe281@deutsche-boerse.com::a133e4ba-ab9f-49ee-af0a-93e33fb61143" providerId="AD" clId="Web-{1391DF47-62E1-0238-4859-15373D9A843E}" dt="2024-03-04T17:09:44.741" v="1"/>
          <ac:spMkLst>
            <pc:docMk/>
            <pc:sldMk cId="1120281149" sldId="265"/>
            <ac:spMk id="8" creationId="{E02BBA1D-41FA-6ECA-FB78-7C39D15A8E0F}"/>
          </ac:spMkLst>
        </pc:spChg>
      </pc:sldChg>
      <pc:sldChg chg="addSp delSp modSp">
        <pc:chgData name="Nathalia Teofilo" userId="S::pe281@deutsche-boerse.com::a133e4ba-ab9f-49ee-af0a-93e33fb61143" providerId="AD" clId="Web-{1391DF47-62E1-0238-4859-15373D9A843E}" dt="2024-03-04T17:10:22.071" v="8" actId="20577"/>
        <pc:sldMkLst>
          <pc:docMk/>
          <pc:sldMk cId="1863582861" sldId="2147470422"/>
        </pc:sldMkLst>
        <pc:spChg chg="del">
          <ac:chgData name="Nathalia Teofilo" userId="S::pe281@deutsche-boerse.com::a133e4ba-ab9f-49ee-af0a-93e33fb61143" providerId="AD" clId="Web-{1391DF47-62E1-0238-4859-15373D9A843E}" dt="2024-03-04T17:09:51.538" v="2"/>
          <ac:spMkLst>
            <pc:docMk/>
            <pc:sldMk cId="1863582861" sldId="2147470422"/>
            <ac:spMk id="6" creationId="{E38EB9C3-AF31-47F6-AA75-3745A3C70D5B}"/>
          </ac:spMkLst>
        </pc:spChg>
        <pc:spChg chg="add mod">
          <ac:chgData name="Nathalia Teofilo" userId="S::pe281@deutsche-boerse.com::a133e4ba-ab9f-49ee-af0a-93e33fb61143" providerId="AD" clId="Web-{1391DF47-62E1-0238-4859-15373D9A843E}" dt="2024-03-04T17:10:22.071" v="8" actId="20577"/>
          <ac:spMkLst>
            <pc:docMk/>
            <pc:sldMk cId="1863582861" sldId="2147470422"/>
            <ac:spMk id="9" creationId="{FC0A4BA0-AC93-2291-2907-418A28EF9016}"/>
          </ac:spMkLst>
        </pc:spChg>
      </pc:sldChg>
    </pc:docChg>
  </pc:docChgLst>
  <pc:docChgLst>
    <pc:chgData name="Kadian Bogle" userId="S::ux460@deutsche-boerse.com::76cab89d-9b55-45a8-91e0-56ac793fecde" providerId="AD" clId="Web-{6F4A8044-4EB7-4EA5-A51C-FEB3B55A5E34}"/>
    <pc:docChg chg="mod addSld delSld modSld sldOrd">
      <pc:chgData name="Kadian Bogle" userId="S::ux460@deutsche-boerse.com::76cab89d-9b55-45a8-91e0-56ac793fecde" providerId="AD" clId="Web-{6F4A8044-4EB7-4EA5-A51C-FEB3B55A5E34}" dt="2024-03-04T21:26:56.391" v="110"/>
      <pc:docMkLst>
        <pc:docMk/>
      </pc:docMkLst>
      <pc:sldChg chg="modSp modCm">
        <pc:chgData name="Kadian Bogle" userId="S::ux460@deutsche-boerse.com::76cab89d-9b55-45a8-91e0-56ac793fecde" providerId="AD" clId="Web-{6F4A8044-4EB7-4EA5-A51C-FEB3B55A5E34}" dt="2024-03-04T21:26:49.062" v="109"/>
        <pc:sldMkLst>
          <pc:docMk/>
          <pc:sldMk cId="1120281149" sldId="265"/>
        </pc:sldMkLst>
        <pc:spChg chg="mod">
          <ac:chgData name="Kadian Bogle" userId="S::ux460@deutsche-boerse.com::76cab89d-9b55-45a8-91e0-56ac793fecde" providerId="AD" clId="Web-{6F4A8044-4EB7-4EA5-A51C-FEB3B55A5E34}" dt="2024-03-04T21:25:37.232" v="82" actId="1076"/>
          <ac:spMkLst>
            <pc:docMk/>
            <pc:sldMk cId="1120281149" sldId="265"/>
            <ac:spMk id="7" creationId="{235E1A74-31E0-389D-DF40-9536F2DAD0F4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40.685" v="83" actId="1076"/>
          <ac:spMkLst>
            <pc:docMk/>
            <pc:sldMk cId="1120281149" sldId="265"/>
            <ac:spMk id="19" creationId="{77715602-3C1E-48EB-980C-714C776B4759}"/>
          </ac:spMkLst>
        </pc:spChg>
        <pc:graphicFrameChg chg="mod modGraphic">
          <ac:chgData name="Kadian Bogle" userId="S::ux460@deutsche-boerse.com::76cab89d-9b55-45a8-91e0-56ac793fecde" providerId="AD" clId="Web-{6F4A8044-4EB7-4EA5-A51C-FEB3B55A5E34}" dt="2024-03-04T21:26:38.187" v="107"/>
          <ac:graphicFrameMkLst>
            <pc:docMk/>
            <pc:sldMk cId="1120281149" sldId="265"/>
            <ac:graphicFrameMk id="4" creationId="{FF18EE13-4240-455C-8D03-FBB2A2C27705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Kadian Bogle" userId="S::ux460@deutsche-boerse.com::76cab89d-9b55-45a8-91e0-56ac793fecde" providerId="AD" clId="Web-{6F4A8044-4EB7-4EA5-A51C-FEB3B55A5E34}" dt="2024-03-04T21:26:49.062" v="109"/>
              <pc2:cmMkLst xmlns:pc2="http://schemas.microsoft.com/office/powerpoint/2019/9/main/command">
                <pc:docMk/>
                <pc:sldMk cId="1120281149" sldId="265"/>
                <pc2:cmMk id="{9B724DCB-2BE1-44DF-BEAE-AAFA6315DE83}"/>
              </pc2:cmMkLst>
            </pc226:cmChg>
          </p:ext>
        </pc:extLst>
      </pc:sldChg>
      <pc:sldChg chg="modSp ord modCm">
        <pc:chgData name="Kadian Bogle" userId="S::ux460@deutsche-boerse.com::76cab89d-9b55-45a8-91e0-56ac793fecde" providerId="AD" clId="Web-{6F4A8044-4EB7-4EA5-A51C-FEB3B55A5E34}" dt="2024-03-04T21:26:56.391" v="110"/>
        <pc:sldMkLst>
          <pc:docMk/>
          <pc:sldMk cId="1324684131" sldId="4055"/>
        </pc:sldMkLst>
        <pc:spChg chg="mod">
          <ac:chgData name="Kadian Bogle" userId="S::ux460@deutsche-boerse.com::76cab89d-9b55-45a8-91e0-56ac793fecde" providerId="AD" clId="Web-{6F4A8044-4EB7-4EA5-A51C-FEB3B55A5E34}" dt="2024-03-04T21:18:44.109" v="19" actId="20577"/>
          <ac:spMkLst>
            <pc:docMk/>
            <pc:sldMk cId="1324684131" sldId="4055"/>
            <ac:spMk id="12" creationId="{C60D2528-386C-874E-9C43-E2454546023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Kadian Bogle" userId="S::ux460@deutsche-boerse.com::76cab89d-9b55-45a8-91e0-56ac793fecde" providerId="AD" clId="Web-{6F4A8044-4EB7-4EA5-A51C-FEB3B55A5E34}" dt="2024-03-04T21:26:56.391" v="110"/>
              <pc2:cmMkLst xmlns:pc2="http://schemas.microsoft.com/office/powerpoint/2019/9/main/command">
                <pc:docMk/>
                <pc:sldMk cId="1324684131" sldId="4055"/>
                <pc2:cmMk id="{4B79176B-BA28-4246-8A2C-E6EEFE9DAF38}"/>
              </pc2:cmMkLst>
            </pc226:cmChg>
          </p:ext>
        </pc:extLst>
      </pc:sldChg>
      <pc:sldChg chg="del">
        <pc:chgData name="Kadian Bogle" userId="S::ux460@deutsche-boerse.com::76cab89d-9b55-45a8-91e0-56ac793fecde" providerId="AD" clId="Web-{6F4A8044-4EB7-4EA5-A51C-FEB3B55A5E34}" dt="2024-03-04T21:21:11.863" v="32"/>
        <pc:sldMkLst>
          <pc:docMk/>
          <pc:sldMk cId="2225293444" sldId="2147470420"/>
        </pc:sldMkLst>
      </pc:sldChg>
      <pc:sldChg chg="del">
        <pc:chgData name="Kadian Bogle" userId="S::ux460@deutsche-boerse.com::76cab89d-9b55-45a8-91e0-56ac793fecde" providerId="AD" clId="Web-{6F4A8044-4EB7-4EA5-A51C-FEB3B55A5E34}" dt="2024-03-04T21:12:10.174" v="0"/>
        <pc:sldMkLst>
          <pc:docMk/>
          <pc:sldMk cId="1863582861" sldId="2147470422"/>
        </pc:sldMkLst>
      </pc:sldChg>
      <pc:sldChg chg="del">
        <pc:chgData name="Kadian Bogle" userId="S::ux460@deutsche-boerse.com::76cab89d-9b55-45a8-91e0-56ac793fecde" providerId="AD" clId="Web-{6F4A8044-4EB7-4EA5-A51C-FEB3B55A5E34}" dt="2024-03-04T21:12:27.705" v="1"/>
        <pc:sldMkLst>
          <pc:docMk/>
          <pc:sldMk cId="4022858806" sldId="2147470424"/>
        </pc:sldMkLst>
      </pc:sldChg>
      <pc:sldChg chg="modCm">
        <pc:chgData name="Kadian Bogle" userId="S::ux460@deutsche-boerse.com::76cab89d-9b55-45a8-91e0-56ac793fecde" providerId="AD" clId="Web-{6F4A8044-4EB7-4EA5-A51C-FEB3B55A5E34}" dt="2024-03-04T21:13:04.847" v="3"/>
        <pc:sldMkLst>
          <pc:docMk/>
          <pc:sldMk cId="1815646555" sldId="214747042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Kadian Bogle" userId="S::ux460@deutsche-boerse.com::76cab89d-9b55-45a8-91e0-56ac793fecde" providerId="AD" clId="Web-{6F4A8044-4EB7-4EA5-A51C-FEB3B55A5E34}" dt="2024-03-04T21:13:04.847" v="3"/>
              <pc2:cmMkLst xmlns:pc2="http://schemas.microsoft.com/office/powerpoint/2019/9/main/command">
                <pc:docMk/>
                <pc:sldMk cId="1815646555" sldId="2147470429"/>
                <pc2:cmMk id="{6F16586D-065A-4AAA-8EB0-3DEBA3783BAC}"/>
              </pc2:cmMkLst>
            </pc226:cmChg>
          </p:ext>
        </pc:extLst>
      </pc:sldChg>
      <pc:sldChg chg="delSp modSp add del addCm">
        <pc:chgData name="Kadian Bogle" userId="S::ux460@deutsche-boerse.com::76cab89d-9b55-45a8-91e0-56ac793fecde" providerId="AD" clId="Web-{6F4A8044-4EB7-4EA5-A51C-FEB3B55A5E34}" dt="2024-03-04T21:25:19.403" v="80" actId="1076"/>
        <pc:sldMkLst>
          <pc:docMk/>
          <pc:sldMk cId="906068552" sldId="2147470430"/>
        </pc:sldMkLst>
        <pc:spChg chg="mod">
          <ac:chgData name="Kadian Bogle" userId="S::ux460@deutsche-boerse.com::76cab89d-9b55-45a8-91e0-56ac793fecde" providerId="AD" clId="Web-{6F4A8044-4EB7-4EA5-A51C-FEB3B55A5E34}" dt="2024-03-04T21:24:29.354" v="69" actId="1076"/>
          <ac:spMkLst>
            <pc:docMk/>
            <pc:sldMk cId="906068552" sldId="2147470430"/>
            <ac:spMk id="6" creationId="{A97307BA-9BD3-DE25-3C2F-494354A8A8D1}"/>
          </ac:spMkLst>
        </pc:spChg>
        <pc:spChg chg="del mod">
          <ac:chgData name="Kadian Bogle" userId="S::ux460@deutsche-boerse.com::76cab89d-9b55-45a8-91e0-56ac793fecde" providerId="AD" clId="Web-{6F4A8044-4EB7-4EA5-A51C-FEB3B55A5E34}" dt="2024-03-04T21:20:46.894" v="23"/>
          <ac:spMkLst>
            <pc:docMk/>
            <pc:sldMk cId="906068552" sldId="2147470430"/>
            <ac:spMk id="20" creationId="{678CA67C-4C2F-4C68-B656-505178ABAE27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247" v="74" actId="1076"/>
          <ac:spMkLst>
            <pc:docMk/>
            <pc:sldMk cId="906068552" sldId="2147470430"/>
            <ac:spMk id="21" creationId="{7EC210F8-E0A0-54F8-F882-85A822FDC3CA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278" v="75" actId="1076"/>
          <ac:spMkLst>
            <pc:docMk/>
            <pc:sldMk cId="906068552" sldId="2147470430"/>
            <ac:spMk id="24" creationId="{780EC602-A510-4958-0037-CDCC3296643A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3:28.321" v="47"/>
          <ac:spMkLst>
            <pc:docMk/>
            <pc:sldMk cId="906068552" sldId="2147470430"/>
            <ac:spMk id="25" creationId="{1BB29C7D-FFD2-8D8C-3C6D-18B65F1688D4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231" v="73" actId="1076"/>
          <ac:spMkLst>
            <pc:docMk/>
            <pc:sldMk cId="906068552" sldId="2147470430"/>
            <ac:spMk id="29" creationId="{55CFD0AE-5610-2C95-4600-1D07D107E83F}"/>
          </ac:spMkLst>
        </pc:spChg>
        <pc:spChg chg="del mod">
          <ac:chgData name="Kadian Bogle" userId="S::ux460@deutsche-boerse.com::76cab89d-9b55-45a8-91e0-56ac793fecde" providerId="AD" clId="Web-{6F4A8044-4EB7-4EA5-A51C-FEB3B55A5E34}" dt="2024-03-04T21:20:57.238" v="25"/>
          <ac:spMkLst>
            <pc:docMk/>
            <pc:sldMk cId="906068552" sldId="2147470430"/>
            <ac:spMk id="30" creationId="{7468AE6A-57D3-0072-697F-B2E8A40E8F8D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0:58.597" v="26"/>
          <ac:spMkLst>
            <pc:docMk/>
            <pc:sldMk cId="906068552" sldId="2147470430"/>
            <ac:spMk id="31" creationId="{55DAA59A-E120-1AAD-F948-39D2060B333A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294" v="76" actId="1076"/>
          <ac:spMkLst>
            <pc:docMk/>
            <pc:sldMk cId="906068552" sldId="2147470430"/>
            <ac:spMk id="32" creationId="{281DBAC0-B365-8025-D9BA-3DB03996C986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0:59.426" v="27"/>
          <ac:spMkLst>
            <pc:docMk/>
            <pc:sldMk cId="906068552" sldId="2147470430"/>
            <ac:spMk id="33" creationId="{E5366127-A05E-C5E8-52C8-CFC966B8C27B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309" v="77" actId="1076"/>
          <ac:spMkLst>
            <pc:docMk/>
            <pc:sldMk cId="906068552" sldId="2147470430"/>
            <ac:spMk id="34" creationId="{91C9687F-9E8B-B430-7D68-E67A43720E35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1:04.269" v="31"/>
          <ac:spMkLst>
            <pc:docMk/>
            <pc:sldMk cId="906068552" sldId="2147470430"/>
            <ac:spMk id="35" creationId="{7C26E182-F6DA-5AD1-8E7F-D4C9B5EF1FD3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325" v="78" actId="1076"/>
          <ac:spMkLst>
            <pc:docMk/>
            <pc:sldMk cId="906068552" sldId="2147470430"/>
            <ac:spMk id="36" creationId="{AC6840DC-A809-2336-BE0E-A6524BB9ED63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1:03.051" v="30"/>
          <ac:spMkLst>
            <pc:docMk/>
            <pc:sldMk cId="906068552" sldId="2147470430"/>
            <ac:spMk id="37" creationId="{ACF439DF-C521-A99C-63DD-2286CF9BD950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356" v="79" actId="1076"/>
          <ac:spMkLst>
            <pc:docMk/>
            <pc:sldMk cId="906068552" sldId="2147470430"/>
            <ac:spMk id="38" creationId="{19D88546-3E89-F295-13D8-239B1042D9E1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1:01.113" v="28"/>
          <ac:spMkLst>
            <pc:docMk/>
            <pc:sldMk cId="906068552" sldId="2147470430"/>
            <ac:spMk id="39" creationId="{44EAED39-811E-6C14-ED52-708F84C6EF1A}"/>
          </ac:spMkLst>
        </pc:spChg>
        <pc:spChg chg="mod">
          <ac:chgData name="Kadian Bogle" userId="S::ux460@deutsche-boerse.com::76cab89d-9b55-45a8-91e0-56ac793fecde" providerId="AD" clId="Web-{6F4A8044-4EB7-4EA5-A51C-FEB3B55A5E34}" dt="2024-03-04T21:25:19.403" v="80" actId="1076"/>
          <ac:spMkLst>
            <pc:docMk/>
            <pc:sldMk cId="906068552" sldId="2147470430"/>
            <ac:spMk id="40" creationId="{54FC80EE-7657-4BEF-A822-BB7656BD839D}"/>
          </ac:spMkLst>
        </pc:spChg>
        <pc:spChg chg="del">
          <ac:chgData name="Kadian Bogle" userId="S::ux460@deutsche-boerse.com::76cab89d-9b55-45a8-91e0-56ac793fecde" providerId="AD" clId="Web-{6F4A8044-4EB7-4EA5-A51C-FEB3B55A5E34}" dt="2024-03-04T21:21:01.582" v="29"/>
          <ac:spMkLst>
            <pc:docMk/>
            <pc:sldMk cId="906068552" sldId="2147470430"/>
            <ac:spMk id="41" creationId="{E1C86B4E-E469-47A0-18D7-AA47C4B28BB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Kadian Bogle" userId="S::ux460@deutsche-boerse.com::76cab89d-9b55-45a8-91e0-56ac793fecde" providerId="AD" clId="Web-{6F4A8044-4EB7-4EA5-A51C-FEB3B55A5E34}" dt="2024-03-04T21:22:00.709" v="33"/>
              <pc2:cmMkLst xmlns:pc2="http://schemas.microsoft.com/office/powerpoint/2019/9/main/command">
                <pc:docMk/>
                <pc:sldMk cId="906068552" sldId="2147470430"/>
                <pc2:cmMk id="{AC690B1D-7C36-40C8-9FFE-F7BE134EA9E9}"/>
              </pc2:cmMkLst>
            </pc226:cmChg>
          </p:ext>
        </pc:extLst>
      </pc:sldChg>
    </pc:docChg>
  </pc:docChgLst>
  <pc:docChgLst>
    <pc:chgData name="Gregory Rodeheaver" userId="S::vg998@deutsche-boerse.com::40103801-f1c8-4385-9963-f9aaf151c868" providerId="AD" clId="Web-{FD2974F8-AC61-6D13-9BCC-E474B86F2BC1}"/>
    <pc:docChg chg="addSld delSld modSld sldOrd">
      <pc:chgData name="Gregory Rodeheaver" userId="S::vg998@deutsche-boerse.com::40103801-f1c8-4385-9963-f9aaf151c868" providerId="AD" clId="Web-{FD2974F8-AC61-6D13-9BCC-E474B86F2BC1}" dt="2024-03-01T20:40:03.289" v="529" actId="20577"/>
      <pc:docMkLst>
        <pc:docMk/>
      </pc:docMkLst>
      <pc:sldChg chg="addSp delSp modSp">
        <pc:chgData name="Gregory Rodeheaver" userId="S::vg998@deutsche-boerse.com::40103801-f1c8-4385-9963-f9aaf151c868" providerId="AD" clId="Web-{FD2974F8-AC61-6D13-9BCC-E474B86F2BC1}" dt="2024-03-01T20:23:56.729" v="382" actId="20577"/>
        <pc:sldMkLst>
          <pc:docMk/>
          <pc:sldMk cId="3858104785" sldId="257"/>
        </pc:sldMkLst>
        <pc:spChg chg="mod">
          <ac:chgData name="Gregory Rodeheaver" userId="S::vg998@deutsche-boerse.com::40103801-f1c8-4385-9963-f9aaf151c868" providerId="AD" clId="Web-{FD2974F8-AC61-6D13-9BCC-E474B86F2BC1}" dt="2024-03-01T20:18:10.937" v="217" actId="20577"/>
          <ac:spMkLst>
            <pc:docMk/>
            <pc:sldMk cId="3858104785" sldId="257"/>
            <ac:spMk id="2" creationId="{B00C7E3B-150A-429F-A416-30AFA82EEC7B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20:20:32.910" v="310" actId="14100"/>
          <ac:spMkLst>
            <pc:docMk/>
            <pc:sldMk cId="3858104785" sldId="257"/>
            <ac:spMk id="15" creationId="{FD10A6EE-AA57-42F5-9025-C6DBE5139966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20:20:39.161" v="311" actId="14100"/>
          <ac:spMkLst>
            <pc:docMk/>
            <pc:sldMk cId="3858104785" sldId="257"/>
            <ac:spMk id="16" creationId="{BD5E17CF-149E-465A-A865-37E34B969414}"/>
          </ac:spMkLst>
        </pc:spChg>
        <pc:spChg chg="del mod">
          <ac:chgData name="Gregory Rodeheaver" userId="S::vg998@deutsche-boerse.com::40103801-f1c8-4385-9963-f9aaf151c868" providerId="AD" clId="Web-{FD2974F8-AC61-6D13-9BCC-E474B86F2BC1}" dt="2024-03-01T20:18:28.172" v="221"/>
          <ac:spMkLst>
            <pc:docMk/>
            <pc:sldMk cId="3858104785" sldId="257"/>
            <ac:spMk id="17" creationId="{CA7B6EA8-9706-453B-88F1-2F5F1468B23B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20:22:35.383" v="379" actId="20577"/>
          <ac:spMkLst>
            <pc:docMk/>
            <pc:sldMk cId="3858104785" sldId="257"/>
            <ac:spMk id="19" creationId="{4A2E14C8-1855-4999-BBA3-B2FE6CA61294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20:23:56.729" v="382" actId="20577"/>
          <ac:spMkLst>
            <pc:docMk/>
            <pc:sldMk cId="3858104785" sldId="257"/>
            <ac:spMk id="68" creationId="{5C373CE6-3A13-40DC-B409-133D05DC7C4C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20:20:48.442" v="313"/>
          <ac:spMkLst>
            <pc:docMk/>
            <pc:sldMk cId="3858104785" sldId="257"/>
            <ac:spMk id="70" creationId="{DB8EBCEF-1B7E-456B-A424-539F266904CF}"/>
          </ac:spMkLst>
        </pc:spChg>
        <pc:spChg chg="del mod">
          <ac:chgData name="Gregory Rodeheaver" userId="S::vg998@deutsche-boerse.com::40103801-f1c8-4385-9963-f9aaf151c868" providerId="AD" clId="Web-{FD2974F8-AC61-6D13-9BCC-E474B86F2BC1}" dt="2024-03-01T20:20:57.333" v="318"/>
          <ac:spMkLst>
            <pc:docMk/>
            <pc:sldMk cId="3858104785" sldId="257"/>
            <ac:spMk id="73" creationId="{54FD33B1-E570-4A46-A55F-C14730E71384}"/>
          </ac:spMkLst>
        </pc:spChg>
        <pc:spChg chg="del mod">
          <ac:chgData name="Gregory Rodeheaver" userId="S::vg998@deutsche-boerse.com::40103801-f1c8-4385-9963-f9aaf151c868" providerId="AD" clId="Web-{FD2974F8-AC61-6D13-9BCC-E474B86F2BC1}" dt="2024-03-01T20:22:26.164" v="377"/>
          <ac:spMkLst>
            <pc:docMk/>
            <pc:sldMk cId="3858104785" sldId="257"/>
            <ac:spMk id="74" creationId="{7B397BF6-8ECE-452D-8B5F-FF90E71F82D9}"/>
          </ac:spMkLst>
        </pc:spChg>
        <pc:grpChg chg="add del mod">
          <ac:chgData name="Gregory Rodeheaver" userId="S::vg998@deutsche-boerse.com::40103801-f1c8-4385-9963-f9aaf151c868" providerId="AD" clId="Web-{FD2974F8-AC61-6D13-9BCC-E474B86F2BC1}" dt="2024-03-01T20:23:00.259" v="381"/>
          <ac:grpSpMkLst>
            <pc:docMk/>
            <pc:sldMk cId="3858104785" sldId="257"/>
            <ac:grpSpMk id="14" creationId="{111794B8-3D10-4EF1-8B45-D6A2C179BE8B}"/>
          </ac:grpSpMkLst>
        </pc:grpChg>
        <pc:grpChg chg="add del mod">
          <ac:chgData name="Gregory Rodeheaver" userId="S::vg998@deutsche-boerse.com::40103801-f1c8-4385-9963-f9aaf151c868" providerId="AD" clId="Web-{FD2974F8-AC61-6D13-9BCC-E474B86F2BC1}" dt="2024-03-01T20:22:24.586" v="376" actId="1076"/>
          <ac:grpSpMkLst>
            <pc:docMk/>
            <pc:sldMk cId="3858104785" sldId="257"/>
            <ac:grpSpMk id="75" creationId="{D28FC00C-8190-478B-88EC-052C9C56418E}"/>
          </ac:grpSpMkLst>
        </pc:grpChg>
      </pc:sldChg>
      <pc:sldChg chg="delSp modSp ord">
        <pc:chgData name="Gregory Rodeheaver" userId="S::vg998@deutsche-boerse.com::40103801-f1c8-4385-9963-f9aaf151c868" providerId="AD" clId="Web-{FD2974F8-AC61-6D13-9BCC-E474B86F2BC1}" dt="2024-03-01T20:31:23.211" v="434"/>
        <pc:sldMkLst>
          <pc:docMk/>
          <pc:sldMk cId="1120281149" sldId="265"/>
        </pc:sldMkLst>
        <pc:spChg chg="del">
          <ac:chgData name="Gregory Rodeheaver" userId="S::vg998@deutsche-boerse.com::40103801-f1c8-4385-9963-f9aaf151c868" providerId="AD" clId="Web-{FD2974F8-AC61-6D13-9BCC-E474B86F2BC1}" dt="2024-03-01T20:29:46.990" v="433"/>
          <ac:spMkLst>
            <pc:docMk/>
            <pc:sldMk cId="1120281149" sldId="265"/>
            <ac:spMk id="9" creationId="{4A34AAAF-4347-9528-EF2B-B4A8785DC8A2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20:29:36.974" v="426"/>
          <ac:spMkLst>
            <pc:docMk/>
            <pc:sldMk cId="1120281149" sldId="265"/>
            <ac:spMk id="24" creationId="{F2F016AD-2A4D-4011-93F1-579C624216AA}"/>
          </ac:spMkLst>
        </pc:spChg>
        <pc:graphicFrameChg chg="mod modGraphic">
          <ac:chgData name="Gregory Rodeheaver" userId="S::vg998@deutsche-boerse.com::40103801-f1c8-4385-9963-f9aaf151c868" providerId="AD" clId="Web-{FD2974F8-AC61-6D13-9BCC-E474B86F2BC1}" dt="2024-03-01T20:29:46.083" v="432"/>
          <ac:graphicFrameMkLst>
            <pc:docMk/>
            <pc:sldMk cId="1120281149" sldId="265"/>
            <ac:graphicFrameMk id="4" creationId="{FF18EE13-4240-455C-8D03-FBB2A2C27705}"/>
          </ac:graphicFrameMkLst>
        </pc:graphicFrameChg>
      </pc:sldChg>
      <pc:sldChg chg="addSp modSp del">
        <pc:chgData name="Gregory Rodeheaver" userId="S::vg998@deutsche-boerse.com::40103801-f1c8-4385-9963-f9aaf151c868" providerId="AD" clId="Web-{FD2974F8-AC61-6D13-9BCC-E474B86F2BC1}" dt="2024-03-01T20:31:31.024" v="435"/>
        <pc:sldMkLst>
          <pc:docMk/>
          <pc:sldMk cId="3327116104" sldId="4050"/>
        </pc:sldMkLst>
        <pc:spChg chg="mod">
          <ac:chgData name="Gregory Rodeheaver" userId="S::vg998@deutsche-boerse.com::40103801-f1c8-4385-9963-f9aaf151c868" providerId="AD" clId="Web-{FD2974F8-AC61-6D13-9BCC-E474B86F2BC1}" dt="2024-03-01T19:05:33.716" v="138" actId="20577"/>
          <ac:spMkLst>
            <pc:docMk/>
            <pc:sldMk cId="3327116104" sldId="4050"/>
            <ac:spMk id="4" creationId="{4A000BA2-87D1-420C-8624-CCA3C91B9AC1}"/>
          </ac:spMkLst>
        </pc:spChg>
        <pc:spChg chg="add mod">
          <ac:chgData name="Gregory Rodeheaver" userId="S::vg998@deutsche-boerse.com::40103801-f1c8-4385-9963-f9aaf151c868" providerId="AD" clId="Web-{FD2974F8-AC61-6D13-9BCC-E474B86F2BC1}" dt="2024-03-01T20:25:49.326" v="425" actId="20577"/>
          <ac:spMkLst>
            <pc:docMk/>
            <pc:sldMk cId="3327116104" sldId="4050"/>
            <ac:spMk id="6" creationId="{01415C73-EAA7-1243-264E-203C8589C982}"/>
          </ac:spMkLst>
        </pc:spChg>
        <pc:picChg chg="add mod">
          <ac:chgData name="Gregory Rodeheaver" userId="S::vg998@deutsche-boerse.com::40103801-f1c8-4385-9963-f9aaf151c868" providerId="AD" clId="Web-{FD2974F8-AC61-6D13-9BCC-E474B86F2BC1}" dt="2024-03-01T19:52:39.344" v="141"/>
          <ac:picMkLst>
            <pc:docMk/>
            <pc:sldMk cId="3327116104" sldId="4050"/>
            <ac:picMk id="5" creationId="{00A01790-E26F-E42D-1508-057743549C6D}"/>
          </ac:picMkLst>
        </pc:picChg>
      </pc:sldChg>
      <pc:sldChg chg="addSp delSp modSp">
        <pc:chgData name="Gregory Rodeheaver" userId="S::vg998@deutsche-boerse.com::40103801-f1c8-4385-9963-f9aaf151c868" providerId="AD" clId="Web-{FD2974F8-AC61-6D13-9BCC-E474B86F2BC1}" dt="2024-03-01T20:01:25.063" v="208" actId="20577"/>
        <pc:sldMkLst>
          <pc:docMk/>
          <pc:sldMk cId="2515545968" sldId="4051"/>
        </pc:sldMkLst>
        <pc:spChg chg="mod">
          <ac:chgData name="Gregory Rodeheaver" userId="S::vg998@deutsche-boerse.com::40103801-f1c8-4385-9963-f9aaf151c868" providerId="AD" clId="Web-{FD2974F8-AC61-6D13-9BCC-E474B86F2BC1}" dt="2024-03-01T19:01:15.723" v="37" actId="20577"/>
          <ac:spMkLst>
            <pc:docMk/>
            <pc:sldMk cId="2515545968" sldId="4051"/>
            <ac:spMk id="4" creationId="{4A000BA2-87D1-420C-8624-CCA3C91B9AC1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01:45.349" v="46"/>
          <ac:spMkLst>
            <pc:docMk/>
            <pc:sldMk cId="2515545968" sldId="4051"/>
            <ac:spMk id="5" creationId="{C9B44A4A-0AC2-4655-9874-E49E2B6886F6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01:19.738" v="38"/>
          <ac:spMkLst>
            <pc:docMk/>
            <pc:sldMk cId="2515545968" sldId="4051"/>
            <ac:spMk id="6" creationId="{683B0918-53CC-40AB-8569-D7BE69030265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19:02:19.584" v="58" actId="20577"/>
          <ac:spMkLst>
            <pc:docMk/>
            <pc:sldMk cId="2515545968" sldId="4051"/>
            <ac:spMk id="8" creationId="{80D2CBFC-D31A-477F-AE1E-CE6EBAD2BD45}"/>
          </ac:spMkLst>
        </pc:spChg>
        <pc:spChg chg="add del mod">
          <ac:chgData name="Gregory Rodeheaver" userId="S::vg998@deutsche-boerse.com::40103801-f1c8-4385-9963-f9aaf151c868" providerId="AD" clId="Web-{FD2974F8-AC61-6D13-9BCC-E474B86F2BC1}" dt="2024-03-01T19:01:34.036" v="41"/>
          <ac:spMkLst>
            <pc:docMk/>
            <pc:sldMk cId="2515545968" sldId="4051"/>
            <ac:spMk id="10" creationId="{773697C8-48AC-08EF-9587-FCCABF385DB0}"/>
          </ac:spMkLst>
        </pc:spChg>
        <pc:spChg chg="add del mod">
          <ac:chgData name="Gregory Rodeheaver" userId="S::vg998@deutsche-boerse.com::40103801-f1c8-4385-9963-f9aaf151c868" providerId="AD" clId="Web-{FD2974F8-AC61-6D13-9BCC-E474B86F2BC1}" dt="2024-03-01T19:02:11.240" v="53"/>
          <ac:spMkLst>
            <pc:docMk/>
            <pc:sldMk cId="2515545968" sldId="4051"/>
            <ac:spMk id="12" creationId="{430E2D00-1D81-2FCD-4A05-090AADEB7E7A}"/>
          </ac:spMkLst>
        </pc:spChg>
        <pc:spChg chg="add mod">
          <ac:chgData name="Gregory Rodeheaver" userId="S::vg998@deutsche-boerse.com::40103801-f1c8-4385-9963-f9aaf151c868" providerId="AD" clId="Web-{FD2974F8-AC61-6D13-9BCC-E474B86F2BC1}" dt="2024-03-01T20:01:25.063" v="208" actId="20577"/>
          <ac:spMkLst>
            <pc:docMk/>
            <pc:sldMk cId="2515545968" sldId="4051"/>
            <ac:spMk id="13" creationId="{AA1033DE-8590-E41F-518C-4C6E6A3954EE}"/>
          </ac:spMkLst>
        </pc:spChg>
        <pc:picChg chg="mod">
          <ac:chgData name="Gregory Rodeheaver" userId="S::vg998@deutsche-boerse.com::40103801-f1c8-4385-9963-f9aaf151c868" providerId="AD" clId="Web-{FD2974F8-AC61-6D13-9BCC-E474B86F2BC1}" dt="2024-03-01T19:02:54.835" v="66" actId="1076"/>
          <ac:picMkLst>
            <pc:docMk/>
            <pc:sldMk cId="2515545968" sldId="4051"/>
            <ac:picMk id="11" creationId="{256170E1-3CDE-4729-8951-EB4192D50EA3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1:20.457" v="39"/>
          <ac:picMkLst>
            <pc:docMk/>
            <pc:sldMk cId="2515545968" sldId="4051"/>
            <ac:picMk id="15" creationId="{4E055F04-3E8B-4C30-9B44-3C329BCE8E62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1:36.176" v="42"/>
          <ac:picMkLst>
            <pc:docMk/>
            <pc:sldMk cId="2515545968" sldId="4051"/>
            <ac:picMk id="16" creationId="{12F347E5-144E-435C-AD04-D4533D784278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1:37.208" v="43"/>
          <ac:picMkLst>
            <pc:docMk/>
            <pc:sldMk cId="2515545968" sldId="4051"/>
            <ac:picMk id="17" creationId="{47CBC302-8C55-46E5-A4D0-72399859930C}"/>
          </ac:picMkLst>
        </pc:picChg>
      </pc:sldChg>
      <pc:sldChg chg="addSp delSp modSp del">
        <pc:chgData name="Gregory Rodeheaver" userId="S::vg998@deutsche-boerse.com::40103801-f1c8-4385-9963-f9aaf151c868" providerId="AD" clId="Web-{FD2974F8-AC61-6D13-9BCC-E474B86F2BC1}" dt="2024-03-01T20:31:56.712" v="437"/>
        <pc:sldMkLst>
          <pc:docMk/>
          <pc:sldMk cId="3428418324" sldId="4052"/>
        </pc:sldMkLst>
        <pc:spChg chg="mod">
          <ac:chgData name="Gregory Rodeheaver" userId="S::vg998@deutsche-boerse.com::40103801-f1c8-4385-9963-f9aaf151c868" providerId="AD" clId="Web-{FD2974F8-AC61-6D13-9BCC-E474B86F2BC1}" dt="2024-03-01T19:00:31.284" v="0" actId="20577"/>
          <ac:spMkLst>
            <pc:docMk/>
            <pc:sldMk cId="3428418324" sldId="4052"/>
            <ac:spMk id="4" creationId="{4A000BA2-87D1-420C-8624-CCA3C91B9AC1}"/>
          </ac:spMkLst>
        </pc:spChg>
        <pc:spChg chg="add mod">
          <ac:chgData name="Gregory Rodeheaver" userId="S::vg998@deutsche-boerse.com::40103801-f1c8-4385-9963-f9aaf151c868" providerId="AD" clId="Web-{FD2974F8-AC61-6D13-9BCC-E474B86F2BC1}" dt="2024-03-01T20:25:08.200" v="392" actId="20577"/>
          <ac:spMkLst>
            <pc:docMk/>
            <pc:sldMk cId="3428418324" sldId="4052"/>
            <ac:spMk id="5" creationId="{A4AC626A-F5AE-3964-49B7-1D6DCC07D3F0}"/>
          </ac:spMkLst>
        </pc:spChg>
        <pc:spChg chg="del mod">
          <ac:chgData name="Gregory Rodeheaver" userId="S::vg998@deutsche-boerse.com::40103801-f1c8-4385-9963-f9aaf151c868" providerId="AD" clId="Web-{FD2974F8-AC61-6D13-9BCC-E474B86F2BC1}" dt="2024-03-01T19:03:19.586" v="73"/>
          <ac:spMkLst>
            <pc:docMk/>
            <pc:sldMk cId="3428418324" sldId="4052"/>
            <ac:spMk id="5" creationId="{C9B44A4A-0AC2-4655-9874-E49E2B6886F6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03:15.289" v="69"/>
          <ac:spMkLst>
            <pc:docMk/>
            <pc:sldMk cId="3428418324" sldId="4052"/>
            <ac:spMk id="8" creationId="{80D2CBFC-D31A-477F-AE1E-CE6EBAD2BD45}"/>
          </ac:spMkLst>
        </pc:spChg>
        <pc:picChg chg="del">
          <ac:chgData name="Gregory Rodeheaver" userId="S::vg998@deutsche-boerse.com::40103801-f1c8-4385-9963-f9aaf151c868" providerId="AD" clId="Web-{FD2974F8-AC61-6D13-9BCC-E474B86F2BC1}" dt="2024-03-01T19:03:13.945" v="68"/>
          <ac:picMkLst>
            <pc:docMk/>
            <pc:sldMk cId="3428418324" sldId="4052"/>
            <ac:picMk id="11" creationId="{256170E1-3CDE-4729-8951-EB4192D50EA3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3:21.024" v="74"/>
          <ac:picMkLst>
            <pc:docMk/>
            <pc:sldMk cId="3428418324" sldId="4052"/>
            <ac:picMk id="15" creationId="{4E055F04-3E8B-4C30-9B44-3C329BCE8E62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3:23.352" v="76"/>
          <ac:picMkLst>
            <pc:docMk/>
            <pc:sldMk cId="3428418324" sldId="4052"/>
            <ac:picMk id="16" creationId="{12F347E5-144E-435C-AD04-D4533D784278}"/>
          </ac:picMkLst>
        </pc:picChg>
        <pc:picChg chg="del">
          <ac:chgData name="Gregory Rodeheaver" userId="S::vg998@deutsche-boerse.com::40103801-f1c8-4385-9963-f9aaf151c868" providerId="AD" clId="Web-{FD2974F8-AC61-6D13-9BCC-E474B86F2BC1}" dt="2024-03-01T19:03:23.024" v="75"/>
          <ac:picMkLst>
            <pc:docMk/>
            <pc:sldMk cId="3428418324" sldId="4052"/>
            <ac:picMk id="17" creationId="{47CBC302-8C55-46E5-A4D0-72399859930C}"/>
          </ac:picMkLst>
        </pc:picChg>
      </pc:sldChg>
      <pc:sldChg chg="modSp">
        <pc:chgData name="Gregory Rodeheaver" userId="S::vg998@deutsche-boerse.com::40103801-f1c8-4385-9963-f9aaf151c868" providerId="AD" clId="Web-{FD2974F8-AC61-6D13-9BCC-E474B86F2BC1}" dt="2024-03-01T20:36:10.314" v="515" actId="20577"/>
        <pc:sldMkLst>
          <pc:docMk/>
          <pc:sldMk cId="1890519334" sldId="4054"/>
        </pc:sldMkLst>
        <pc:spChg chg="mod">
          <ac:chgData name="Gregory Rodeheaver" userId="S::vg998@deutsche-boerse.com::40103801-f1c8-4385-9963-f9aaf151c868" providerId="AD" clId="Web-{FD2974F8-AC61-6D13-9BCC-E474B86F2BC1}" dt="2024-03-01T20:36:10.314" v="515" actId="20577"/>
          <ac:spMkLst>
            <pc:docMk/>
            <pc:sldMk cId="1890519334" sldId="4054"/>
            <ac:spMk id="4" creationId="{4A000BA2-87D1-420C-8624-CCA3C91B9AC1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20:36:03.485" v="506" actId="20577"/>
          <ac:spMkLst>
            <pc:docMk/>
            <pc:sldMk cId="1890519334" sldId="4054"/>
            <ac:spMk id="10" creationId="{E37564C4-3F20-2CAD-FCF6-83E008C5BA52}"/>
          </ac:spMkLst>
        </pc:spChg>
      </pc:sldChg>
      <pc:sldChg chg="addSp delSp modSp add ord replId">
        <pc:chgData name="Gregory Rodeheaver" userId="S::vg998@deutsche-boerse.com::40103801-f1c8-4385-9963-f9aaf151c868" providerId="AD" clId="Web-{FD2974F8-AC61-6D13-9BCC-E474B86F2BC1}" dt="2024-03-01T20:00:35.390" v="191" actId="20577"/>
        <pc:sldMkLst>
          <pc:docMk/>
          <pc:sldMk cId="1324684131" sldId="4055"/>
        </pc:sldMkLst>
        <pc:spChg chg="mod">
          <ac:chgData name="Gregory Rodeheaver" userId="S::vg998@deutsche-boerse.com::40103801-f1c8-4385-9963-f9aaf151c868" providerId="AD" clId="Web-{FD2974F8-AC61-6D13-9BCC-E474B86F2BC1}" dt="2024-03-01T19:03:47.821" v="90" actId="20577"/>
          <ac:spMkLst>
            <pc:docMk/>
            <pc:sldMk cId="1324684131" sldId="4055"/>
            <ac:spMk id="4" creationId="{4A000BA2-87D1-420C-8624-CCA3C91B9AC1}"/>
          </ac:spMkLst>
        </pc:spChg>
        <pc:spChg chg="mod">
          <ac:chgData name="Gregory Rodeheaver" userId="S::vg998@deutsche-boerse.com::40103801-f1c8-4385-9963-f9aaf151c868" providerId="AD" clId="Web-{FD2974F8-AC61-6D13-9BCC-E474B86F2BC1}" dt="2024-03-01T19:04:01.212" v="94" actId="1076"/>
          <ac:spMkLst>
            <pc:docMk/>
            <pc:sldMk cId="1324684131" sldId="4055"/>
            <ac:spMk id="5" creationId="{C9B44A4A-0AC2-4655-9874-E49E2B6886F6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03:31.930" v="77"/>
          <ac:spMkLst>
            <pc:docMk/>
            <pc:sldMk cId="1324684131" sldId="4055"/>
            <ac:spMk id="6" creationId="{683B0918-53CC-40AB-8569-D7BE69030265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03:57.322" v="93"/>
          <ac:spMkLst>
            <pc:docMk/>
            <pc:sldMk cId="1324684131" sldId="4055"/>
            <ac:spMk id="8" creationId="{80D2CBFC-D31A-477F-AE1E-CE6EBAD2BD45}"/>
          </ac:spMkLst>
        </pc:spChg>
        <pc:spChg chg="add del mod">
          <ac:chgData name="Gregory Rodeheaver" userId="S::vg998@deutsche-boerse.com::40103801-f1c8-4385-9963-f9aaf151c868" providerId="AD" clId="Web-{FD2974F8-AC61-6D13-9BCC-E474B86F2BC1}" dt="2024-03-01T19:03:53.431" v="91"/>
          <ac:spMkLst>
            <pc:docMk/>
            <pc:sldMk cId="1324684131" sldId="4055"/>
            <ac:spMk id="10" creationId="{773AFBA0-8ACD-ABB2-E2DB-9E48E9B7173D}"/>
          </ac:spMkLst>
        </pc:spChg>
        <pc:spChg chg="add mod">
          <ac:chgData name="Gregory Rodeheaver" userId="S::vg998@deutsche-boerse.com::40103801-f1c8-4385-9963-f9aaf151c868" providerId="AD" clId="Web-{FD2974F8-AC61-6D13-9BCC-E474B86F2BC1}" dt="2024-03-01T20:00:35.390" v="191" actId="20577"/>
          <ac:spMkLst>
            <pc:docMk/>
            <pc:sldMk cId="1324684131" sldId="4055"/>
            <ac:spMk id="12" creationId="{C60D2528-386C-874E-9C43-E2454546023A}"/>
          </ac:spMkLst>
        </pc:spChg>
        <pc:picChg chg="del">
          <ac:chgData name="Gregory Rodeheaver" userId="S::vg998@deutsche-boerse.com::40103801-f1c8-4385-9963-f9aaf151c868" providerId="AD" clId="Web-{FD2974F8-AC61-6D13-9BCC-E474B86F2BC1}" dt="2024-03-01T19:03:55.525" v="92"/>
          <ac:picMkLst>
            <pc:docMk/>
            <pc:sldMk cId="1324684131" sldId="4055"/>
            <ac:picMk id="11" creationId="{256170E1-3CDE-4729-8951-EB4192D50EA3}"/>
          </ac:picMkLst>
        </pc:picChg>
      </pc:sldChg>
      <pc:sldChg chg="modSp del">
        <pc:chgData name="Gregory Rodeheaver" userId="S::vg998@deutsche-boerse.com::40103801-f1c8-4385-9963-f9aaf151c868" providerId="AD" clId="Web-{FD2974F8-AC61-6D13-9BCC-E474B86F2BC1}" dt="2024-03-01T20:36:48.737" v="516"/>
        <pc:sldMkLst>
          <pc:docMk/>
          <pc:sldMk cId="2360328382" sldId="4056"/>
        </pc:sldMkLst>
        <pc:spChg chg="mod">
          <ac:chgData name="Gregory Rodeheaver" userId="S::vg998@deutsche-boerse.com::40103801-f1c8-4385-9963-f9aaf151c868" providerId="AD" clId="Web-{FD2974F8-AC61-6D13-9BCC-E474B86F2BC1}" dt="2024-03-01T20:13:59.414" v="212" actId="20577"/>
          <ac:spMkLst>
            <pc:docMk/>
            <pc:sldMk cId="2360328382" sldId="4056"/>
            <ac:spMk id="41" creationId="{363B46FA-2CA7-4B98-B50C-B0065EB91B72}"/>
          </ac:spMkLst>
        </pc:spChg>
      </pc:sldChg>
      <pc:sldChg chg="delSp modSp">
        <pc:chgData name="Gregory Rodeheaver" userId="S::vg998@deutsche-boerse.com::40103801-f1c8-4385-9963-f9aaf151c868" providerId="AD" clId="Web-{FD2974F8-AC61-6D13-9BCC-E474B86F2BC1}" dt="2024-03-01T20:33:36.840" v="489" actId="20577"/>
        <pc:sldMkLst>
          <pc:docMk/>
          <pc:sldMk cId="2225293444" sldId="2147470420"/>
        </pc:sldMkLst>
        <pc:spChg chg="mod">
          <ac:chgData name="Gregory Rodeheaver" userId="S::vg998@deutsche-boerse.com::40103801-f1c8-4385-9963-f9aaf151c868" providerId="AD" clId="Web-{FD2974F8-AC61-6D13-9BCC-E474B86F2BC1}" dt="2024-03-01T20:33:36.840" v="489" actId="20577"/>
          <ac:spMkLst>
            <pc:docMk/>
            <pc:sldMk cId="2225293444" sldId="2147470420"/>
            <ac:spMk id="2" creationId="{5A5D3E57-B282-4F58-B9A7-0CC05C672544}"/>
          </ac:spMkLst>
        </pc:spChg>
        <pc:picChg chg="del">
          <ac:chgData name="Gregory Rodeheaver" userId="S::vg998@deutsche-boerse.com::40103801-f1c8-4385-9963-f9aaf151c868" providerId="AD" clId="Web-{FD2974F8-AC61-6D13-9BCC-E474B86F2BC1}" dt="2024-03-01T20:33:10.058" v="459"/>
          <ac:picMkLst>
            <pc:docMk/>
            <pc:sldMk cId="2225293444" sldId="2147470420"/>
            <ac:picMk id="9" creationId="{CBEA7228-0AAF-44F9-91F6-C663E86826C5}"/>
          </ac:picMkLst>
        </pc:picChg>
      </pc:sldChg>
      <pc:sldChg chg="delSp modSp add replId">
        <pc:chgData name="Gregory Rodeheaver" userId="S::vg998@deutsche-boerse.com::40103801-f1c8-4385-9963-f9aaf151c868" providerId="AD" clId="Web-{FD2974F8-AC61-6D13-9BCC-E474B86F2BC1}" dt="2024-03-01T20:40:03.289" v="529" actId="20577"/>
        <pc:sldMkLst>
          <pc:docMk/>
          <pc:sldMk cId="4122661568" sldId="2147470421"/>
        </pc:sldMkLst>
        <pc:spChg chg="mod">
          <ac:chgData name="Gregory Rodeheaver" userId="S::vg998@deutsche-boerse.com::40103801-f1c8-4385-9963-f9aaf151c868" providerId="AD" clId="Web-{FD2974F8-AC61-6D13-9BCC-E474B86F2BC1}" dt="2024-03-01T20:40:03.289" v="529" actId="20577"/>
          <ac:spMkLst>
            <pc:docMk/>
            <pc:sldMk cId="4122661568" sldId="2147470421"/>
            <ac:spMk id="4" creationId="{4A000BA2-87D1-420C-8624-CCA3C91B9AC1}"/>
          </ac:spMkLst>
        </pc:spChg>
        <pc:spChg chg="del">
          <ac:chgData name="Gregory Rodeheaver" userId="S::vg998@deutsche-boerse.com::40103801-f1c8-4385-9963-f9aaf151c868" providerId="AD" clId="Web-{FD2974F8-AC61-6D13-9BCC-E474B86F2BC1}" dt="2024-03-01T19:59:25.919" v="160"/>
          <ac:spMkLst>
            <pc:docMk/>
            <pc:sldMk cId="4122661568" sldId="2147470421"/>
            <ac:spMk id="8" creationId="{80D2CBFC-D31A-477F-AE1E-CE6EBAD2BD45}"/>
          </ac:spMkLst>
        </pc:spChg>
        <pc:spChg chg="del mod">
          <ac:chgData name="Gregory Rodeheaver" userId="S::vg998@deutsche-boerse.com::40103801-f1c8-4385-9963-f9aaf151c868" providerId="AD" clId="Web-{FD2974F8-AC61-6D13-9BCC-E474B86F2BC1}" dt="2024-03-01T19:59:28.841" v="163"/>
          <ac:spMkLst>
            <pc:docMk/>
            <pc:sldMk cId="4122661568" sldId="2147470421"/>
            <ac:spMk id="13" creationId="{AA1033DE-8590-E41F-518C-4C6E6A3954EE}"/>
          </ac:spMkLst>
        </pc:spChg>
        <pc:picChg chg="del">
          <ac:chgData name="Gregory Rodeheaver" userId="S::vg998@deutsche-boerse.com::40103801-f1c8-4385-9963-f9aaf151c868" providerId="AD" clId="Web-{FD2974F8-AC61-6D13-9BCC-E474B86F2BC1}" dt="2024-03-01T19:59:26.872" v="161"/>
          <ac:picMkLst>
            <pc:docMk/>
            <pc:sldMk cId="4122661568" sldId="2147470421"/>
            <ac:picMk id="11" creationId="{256170E1-3CDE-4729-8951-EB4192D50EA3}"/>
          </ac:picMkLst>
        </pc:picChg>
      </pc:sldChg>
      <pc:sldChg chg="modSp add replId">
        <pc:chgData name="Gregory Rodeheaver" userId="S::vg998@deutsche-boerse.com::40103801-f1c8-4385-9963-f9aaf151c868" providerId="AD" clId="Web-{FD2974F8-AC61-6D13-9BCC-E474B86F2BC1}" dt="2024-03-01T20:32:14.478" v="458" actId="20577"/>
        <pc:sldMkLst>
          <pc:docMk/>
          <pc:sldMk cId="1863582861" sldId="2147470422"/>
        </pc:sldMkLst>
        <pc:spChg chg="mod">
          <ac:chgData name="Gregory Rodeheaver" userId="S::vg998@deutsche-boerse.com::40103801-f1c8-4385-9963-f9aaf151c868" providerId="AD" clId="Web-{FD2974F8-AC61-6D13-9BCC-E474B86F2BC1}" dt="2024-03-01T20:32:14.478" v="458" actId="20577"/>
          <ac:spMkLst>
            <pc:docMk/>
            <pc:sldMk cId="1863582861" sldId="2147470422"/>
            <ac:spMk id="2" creationId="{B00C7E3B-150A-429F-A416-30AFA82EEC7B}"/>
          </ac:spMkLst>
        </pc:spChg>
      </pc:sldChg>
      <pc:sldChg chg="del">
        <pc:chgData name="Gregory Rodeheaver" userId="S::vg998@deutsche-boerse.com::40103801-f1c8-4385-9963-f9aaf151c868" providerId="AD" clId="Web-{FD2974F8-AC61-6D13-9BCC-E474B86F2BC1}" dt="2024-03-01T20:31:53.150" v="436"/>
        <pc:sldMkLst>
          <pc:docMk/>
          <pc:sldMk cId="2149395297" sldId="2147470423"/>
        </pc:sldMkLst>
      </pc:sldChg>
    </pc:docChg>
  </pc:docChgLst>
  <pc:docChgLst>
    <pc:chgData name="Kadian Bogle" userId="76cab89d-9b55-45a8-91e0-56ac793fecde" providerId="ADAL" clId="{E8FF9108-E8FE-4427-BBEA-BE363B5FB795}"/>
    <pc:docChg chg="undo redo custSel addSld delSld modSld sldOrd">
      <pc:chgData name="Kadian Bogle" userId="76cab89d-9b55-45a8-91e0-56ac793fecde" providerId="ADAL" clId="{E8FF9108-E8FE-4427-BBEA-BE363B5FB795}" dt="2024-03-01T23:28:11.174" v="1995" actId="403"/>
      <pc:docMkLst>
        <pc:docMk/>
      </pc:docMkLst>
      <pc:sldChg chg="del">
        <pc:chgData name="Kadian Bogle" userId="76cab89d-9b55-45a8-91e0-56ac793fecde" providerId="ADAL" clId="{E8FF9108-E8FE-4427-BBEA-BE363B5FB795}" dt="2024-03-01T21:54:04.657" v="680" actId="47"/>
        <pc:sldMkLst>
          <pc:docMk/>
          <pc:sldMk cId="3858104785" sldId="257"/>
        </pc:sldMkLst>
      </pc:sldChg>
      <pc:sldChg chg="addSp delSp modSp mod">
        <pc:chgData name="Kadian Bogle" userId="76cab89d-9b55-45a8-91e0-56ac793fecde" providerId="ADAL" clId="{E8FF9108-E8FE-4427-BBEA-BE363B5FB795}" dt="2024-03-01T21:02:24.680" v="84" actId="122"/>
        <pc:sldMkLst>
          <pc:docMk/>
          <pc:sldMk cId="1120281149" sldId="265"/>
        </pc:sldMkLst>
        <pc:spChg chg="mod">
          <ac:chgData name="Kadian Bogle" userId="76cab89d-9b55-45a8-91e0-56ac793fecde" providerId="ADAL" clId="{E8FF9108-E8FE-4427-BBEA-BE363B5FB795}" dt="2024-03-01T21:01:56.637" v="77" actId="1076"/>
          <ac:spMkLst>
            <pc:docMk/>
            <pc:sldMk cId="1120281149" sldId="265"/>
            <ac:spMk id="5" creationId="{05D20B5E-93E3-3831-000E-2DD3C3B52A3E}"/>
          </ac:spMkLst>
        </pc:spChg>
        <pc:spChg chg="mod">
          <ac:chgData name="Kadian Bogle" userId="76cab89d-9b55-45a8-91e0-56ac793fecde" providerId="ADAL" clId="{E8FF9108-E8FE-4427-BBEA-BE363B5FB795}" dt="2024-03-01T21:02:13.919" v="82" actId="1076"/>
          <ac:spMkLst>
            <pc:docMk/>
            <pc:sldMk cId="1120281149" sldId="265"/>
            <ac:spMk id="7" creationId="{235E1A74-31E0-389D-DF40-9536F2DAD0F4}"/>
          </ac:spMkLst>
        </pc:spChg>
        <pc:spChg chg="add del">
          <ac:chgData name="Kadian Bogle" userId="76cab89d-9b55-45a8-91e0-56ac793fecde" providerId="ADAL" clId="{E8FF9108-E8FE-4427-BBEA-BE363B5FB795}" dt="2024-03-01T21:02:16.812" v="83" actId="478"/>
          <ac:spMkLst>
            <pc:docMk/>
            <pc:sldMk cId="1120281149" sldId="265"/>
            <ac:spMk id="11" creationId="{F2982A97-F697-46AC-8FA8-5622231CCF3E}"/>
          </ac:spMkLst>
        </pc:spChg>
        <pc:spChg chg="del">
          <ac:chgData name="Kadian Bogle" userId="76cab89d-9b55-45a8-91e0-56ac793fecde" providerId="ADAL" clId="{E8FF9108-E8FE-4427-BBEA-BE363B5FB795}" dt="2024-03-01T21:01:40.781" v="74" actId="478"/>
          <ac:spMkLst>
            <pc:docMk/>
            <pc:sldMk cId="1120281149" sldId="265"/>
            <ac:spMk id="12" creationId="{A086F723-8EA7-4E8C-805A-6D17C976C3DB}"/>
          </ac:spMkLst>
        </pc:spChg>
        <pc:spChg chg="mod">
          <ac:chgData name="Kadian Bogle" userId="76cab89d-9b55-45a8-91e0-56ac793fecde" providerId="ADAL" clId="{E8FF9108-E8FE-4427-BBEA-BE363B5FB795}" dt="2024-03-01T21:02:24.680" v="84" actId="122"/>
          <ac:spMkLst>
            <pc:docMk/>
            <pc:sldMk cId="1120281149" sldId="265"/>
            <ac:spMk id="14" creationId="{80BB1A20-854F-45E7-9C19-8D491B4AA253}"/>
          </ac:spMkLst>
        </pc:spChg>
        <pc:spChg chg="mod">
          <ac:chgData name="Kadian Bogle" userId="76cab89d-9b55-45a8-91e0-56ac793fecde" providerId="ADAL" clId="{E8FF9108-E8FE-4427-BBEA-BE363B5FB795}" dt="2024-03-01T21:01:47.568" v="76" actId="1076"/>
          <ac:spMkLst>
            <pc:docMk/>
            <pc:sldMk cId="1120281149" sldId="265"/>
            <ac:spMk id="19" creationId="{77715602-3C1E-48EB-980C-714C776B4759}"/>
          </ac:spMkLst>
        </pc:spChg>
        <pc:spChg chg="mod">
          <ac:chgData name="Kadian Bogle" userId="76cab89d-9b55-45a8-91e0-56ac793fecde" providerId="ADAL" clId="{E8FF9108-E8FE-4427-BBEA-BE363B5FB795}" dt="2024-03-01T21:01:45.512" v="75" actId="1076"/>
          <ac:spMkLst>
            <pc:docMk/>
            <pc:sldMk cId="1120281149" sldId="265"/>
            <ac:spMk id="25" creationId="{F8F1D538-9F38-433A-879A-50774463F846}"/>
          </ac:spMkLst>
        </pc:spChg>
        <pc:graphicFrameChg chg="mod modGraphic">
          <ac:chgData name="Kadian Bogle" userId="76cab89d-9b55-45a8-91e0-56ac793fecde" providerId="ADAL" clId="{E8FF9108-E8FE-4427-BBEA-BE363B5FB795}" dt="2024-03-01T21:02:10.208" v="81" actId="1076"/>
          <ac:graphicFrameMkLst>
            <pc:docMk/>
            <pc:sldMk cId="1120281149" sldId="265"/>
            <ac:graphicFrameMk id="4" creationId="{FF18EE13-4240-455C-8D03-FBB2A2C27705}"/>
          </ac:graphicFrameMkLst>
        </pc:graphicFrameChg>
      </pc:sldChg>
      <pc:sldChg chg="addSp delSp modSp del mod">
        <pc:chgData name="Kadian Bogle" userId="76cab89d-9b55-45a8-91e0-56ac793fecde" providerId="ADAL" clId="{E8FF9108-E8FE-4427-BBEA-BE363B5FB795}" dt="2024-03-01T22:40:33.029" v="1555" actId="47"/>
        <pc:sldMkLst>
          <pc:docMk/>
          <pc:sldMk cId="1890519334" sldId="4054"/>
        </pc:sldMkLst>
        <pc:spChg chg="mod">
          <ac:chgData name="Kadian Bogle" userId="76cab89d-9b55-45a8-91e0-56ac793fecde" providerId="ADAL" clId="{E8FF9108-E8FE-4427-BBEA-BE363B5FB795}" dt="2024-03-01T22:07:39.279" v="768"/>
          <ac:spMkLst>
            <pc:docMk/>
            <pc:sldMk cId="1890519334" sldId="4054"/>
            <ac:spMk id="4" creationId="{4A000BA2-87D1-420C-8624-CCA3C91B9AC1}"/>
          </ac:spMkLst>
        </pc:spChg>
        <pc:spChg chg="mod">
          <ac:chgData name="Kadian Bogle" userId="76cab89d-9b55-45a8-91e0-56ac793fecde" providerId="ADAL" clId="{E8FF9108-E8FE-4427-BBEA-BE363B5FB795}" dt="2024-03-01T22:20:45.987" v="1048" actId="20577"/>
          <ac:spMkLst>
            <pc:docMk/>
            <pc:sldMk cId="1890519334" sldId="4054"/>
            <ac:spMk id="10" creationId="{E37564C4-3F20-2CAD-FCF6-83E008C5BA52}"/>
          </ac:spMkLst>
        </pc:spChg>
        <pc:graphicFrameChg chg="add del modGraphic">
          <ac:chgData name="Kadian Bogle" userId="76cab89d-9b55-45a8-91e0-56ac793fecde" providerId="ADAL" clId="{E8FF9108-E8FE-4427-BBEA-BE363B5FB795}" dt="2024-03-01T22:22:14.475" v="1050" actId="478"/>
          <ac:graphicFrameMkLst>
            <pc:docMk/>
            <pc:sldMk cId="1890519334" sldId="4054"/>
            <ac:graphicFrameMk id="5" creationId="{64FB0339-8177-68C5-8B61-B037E8E9B730}"/>
          </ac:graphicFrameMkLst>
        </pc:graphicFrameChg>
      </pc:sldChg>
      <pc:sldChg chg="modSp mod">
        <pc:chgData name="Kadian Bogle" userId="76cab89d-9b55-45a8-91e0-56ac793fecde" providerId="ADAL" clId="{E8FF9108-E8FE-4427-BBEA-BE363B5FB795}" dt="2024-03-01T22:07:08.428" v="764"/>
        <pc:sldMkLst>
          <pc:docMk/>
          <pc:sldMk cId="2225293444" sldId="2147470420"/>
        </pc:sldMkLst>
        <pc:spChg chg="mod">
          <ac:chgData name="Kadian Bogle" userId="76cab89d-9b55-45a8-91e0-56ac793fecde" providerId="ADAL" clId="{E8FF9108-E8FE-4427-BBEA-BE363B5FB795}" dt="2024-03-01T22:07:08.428" v="764"/>
          <ac:spMkLst>
            <pc:docMk/>
            <pc:sldMk cId="2225293444" sldId="2147470420"/>
            <ac:spMk id="33" creationId="{864BE18A-C68A-4843-ACA0-91C3080C3657}"/>
          </ac:spMkLst>
        </pc:spChg>
        <pc:spChg chg="mod">
          <ac:chgData name="Kadian Bogle" userId="76cab89d-9b55-45a8-91e0-56ac793fecde" providerId="ADAL" clId="{E8FF9108-E8FE-4427-BBEA-BE363B5FB795}" dt="2024-03-01T21:59:09.671" v="687"/>
          <ac:spMkLst>
            <pc:docMk/>
            <pc:sldMk cId="2225293444" sldId="2147470420"/>
            <ac:spMk id="126" creationId="{48C7DBDC-26E5-46A8-BAE8-A6DC63674EE6}"/>
          </ac:spMkLst>
        </pc:spChg>
        <pc:spChg chg="mod">
          <ac:chgData name="Kadian Bogle" userId="76cab89d-9b55-45a8-91e0-56ac793fecde" providerId="ADAL" clId="{E8FF9108-E8FE-4427-BBEA-BE363B5FB795}" dt="2024-03-01T22:04:15.302" v="723" actId="113"/>
          <ac:spMkLst>
            <pc:docMk/>
            <pc:sldMk cId="2225293444" sldId="2147470420"/>
            <ac:spMk id="132" creationId="{EA181ABD-4029-4B4D-AAD2-2D9D47B59975}"/>
          </ac:spMkLst>
        </pc:spChg>
        <pc:spChg chg="mod">
          <ac:chgData name="Kadian Bogle" userId="76cab89d-9b55-45a8-91e0-56ac793fecde" providerId="ADAL" clId="{E8FF9108-E8FE-4427-BBEA-BE363B5FB795}" dt="2024-03-01T21:59:39.467" v="709" actId="1076"/>
          <ac:spMkLst>
            <pc:docMk/>
            <pc:sldMk cId="2225293444" sldId="2147470420"/>
            <ac:spMk id="133" creationId="{3E499A9F-ADC1-4871-B50D-1369D32BA678}"/>
          </ac:spMkLst>
        </pc:spChg>
        <pc:spChg chg="mod">
          <ac:chgData name="Kadian Bogle" userId="76cab89d-9b55-45a8-91e0-56ac793fecde" providerId="ADAL" clId="{E8FF9108-E8FE-4427-BBEA-BE363B5FB795}" dt="2024-03-01T22:04:44.711" v="728"/>
          <ac:spMkLst>
            <pc:docMk/>
            <pc:sldMk cId="2225293444" sldId="2147470420"/>
            <ac:spMk id="138" creationId="{C6293BD8-FC2C-45E8-BAEF-E3D5F5AD326D}"/>
          </ac:spMkLst>
        </pc:spChg>
        <pc:spChg chg="mod">
          <ac:chgData name="Kadian Bogle" userId="76cab89d-9b55-45a8-91e0-56ac793fecde" providerId="ADAL" clId="{E8FF9108-E8FE-4427-BBEA-BE363B5FB795}" dt="2024-03-01T22:06:49.033" v="759" actId="20577"/>
          <ac:spMkLst>
            <pc:docMk/>
            <pc:sldMk cId="2225293444" sldId="2147470420"/>
            <ac:spMk id="143" creationId="{D80B714F-47FB-4597-8A54-88D14EBDAA48}"/>
          </ac:spMkLst>
        </pc:spChg>
        <pc:spChg chg="mod">
          <ac:chgData name="Kadian Bogle" userId="76cab89d-9b55-45a8-91e0-56ac793fecde" providerId="ADAL" clId="{E8FF9108-E8FE-4427-BBEA-BE363B5FB795}" dt="2024-03-01T22:06:27.979" v="755" actId="20577"/>
          <ac:spMkLst>
            <pc:docMk/>
            <pc:sldMk cId="2225293444" sldId="2147470420"/>
            <ac:spMk id="145" creationId="{0885C503-B1EB-4C09-BE9F-CBED5B62C451}"/>
          </ac:spMkLst>
        </pc:spChg>
        <pc:spChg chg="mod">
          <ac:chgData name="Kadian Bogle" userId="76cab89d-9b55-45a8-91e0-56ac793fecde" providerId="ADAL" clId="{E8FF9108-E8FE-4427-BBEA-BE363B5FB795}" dt="2024-03-01T22:04:35.580" v="725" actId="1076"/>
          <ac:spMkLst>
            <pc:docMk/>
            <pc:sldMk cId="2225293444" sldId="2147470420"/>
            <ac:spMk id="150" creationId="{BFB6F8D7-5C4D-4B63-87F8-449A4D1CC811}"/>
          </ac:spMkLst>
        </pc:spChg>
        <pc:spChg chg="mod">
          <ac:chgData name="Kadian Bogle" userId="76cab89d-9b55-45a8-91e0-56ac793fecde" providerId="ADAL" clId="{E8FF9108-E8FE-4427-BBEA-BE363B5FB795}" dt="2024-03-01T22:03:31.774" v="720"/>
          <ac:spMkLst>
            <pc:docMk/>
            <pc:sldMk cId="2225293444" sldId="2147470420"/>
            <ac:spMk id="152" creationId="{04B339DA-9C4C-4B87-85C9-869055D8F56E}"/>
          </ac:spMkLst>
        </pc:spChg>
      </pc:sldChg>
      <pc:sldChg chg="addSp delSp modSp mod">
        <pc:chgData name="Kadian Bogle" userId="76cab89d-9b55-45a8-91e0-56ac793fecde" providerId="ADAL" clId="{E8FF9108-E8FE-4427-BBEA-BE363B5FB795}" dt="2024-03-01T21:36:15.809" v="537" actId="14100"/>
        <pc:sldMkLst>
          <pc:docMk/>
          <pc:sldMk cId="1863582861" sldId="2147470422"/>
        </pc:sldMkLst>
        <pc:spChg chg="mod">
          <ac:chgData name="Kadian Bogle" userId="76cab89d-9b55-45a8-91e0-56ac793fecde" providerId="ADAL" clId="{E8FF9108-E8FE-4427-BBEA-BE363B5FB795}" dt="2024-03-01T21:34:57.930" v="526" actId="1076"/>
          <ac:spMkLst>
            <pc:docMk/>
            <pc:sldMk cId="1863582861" sldId="2147470422"/>
            <ac:spMk id="2" creationId="{B00C7E3B-150A-429F-A416-30AFA82EEC7B}"/>
          </ac:spMkLst>
        </pc:spChg>
        <pc:spChg chg="add mod">
          <ac:chgData name="Kadian Bogle" userId="76cab89d-9b55-45a8-91e0-56ac793fecde" providerId="ADAL" clId="{E8FF9108-E8FE-4427-BBEA-BE363B5FB795}" dt="2024-03-01T21:30:34.179" v="509" actId="1076"/>
          <ac:spMkLst>
            <pc:docMk/>
            <pc:sldMk cId="1863582861" sldId="2147470422"/>
            <ac:spMk id="5" creationId="{965DF2FB-3419-E92F-0C22-384C4CFE3A82}"/>
          </ac:spMkLst>
        </pc:spChg>
        <pc:spChg chg="add mod">
          <ac:chgData name="Kadian Bogle" userId="76cab89d-9b55-45a8-91e0-56ac793fecde" providerId="ADAL" clId="{E8FF9108-E8FE-4427-BBEA-BE363B5FB795}" dt="2024-03-01T21:30:38.844" v="510" actId="1076"/>
          <ac:spMkLst>
            <pc:docMk/>
            <pc:sldMk cId="1863582861" sldId="2147470422"/>
            <ac:spMk id="7" creationId="{67E5F6BA-3DEC-7A02-B683-2F8FAEC38661}"/>
          </ac:spMkLst>
        </pc:spChg>
        <pc:spChg chg="add del mod">
          <ac:chgData name="Kadian Bogle" userId="76cab89d-9b55-45a8-91e0-56ac793fecde" providerId="ADAL" clId="{E8FF9108-E8FE-4427-BBEA-BE363B5FB795}" dt="2024-03-01T21:30:05.886" v="506" actId="478"/>
          <ac:spMkLst>
            <pc:docMk/>
            <pc:sldMk cId="1863582861" sldId="2147470422"/>
            <ac:spMk id="9" creationId="{346A975F-E81B-5996-BA30-880CD820508C}"/>
          </ac:spMkLst>
        </pc:spChg>
        <pc:spChg chg="add mod">
          <ac:chgData name="Kadian Bogle" userId="76cab89d-9b55-45a8-91e0-56ac793fecde" providerId="ADAL" clId="{E8FF9108-E8FE-4427-BBEA-BE363B5FB795}" dt="2024-03-01T21:31:37.902" v="516" actId="1076"/>
          <ac:spMkLst>
            <pc:docMk/>
            <pc:sldMk cId="1863582861" sldId="2147470422"/>
            <ac:spMk id="10" creationId="{9208801C-78BF-26BD-8742-FEFB7BAD4252}"/>
          </ac:spMkLst>
        </pc:spChg>
        <pc:spChg chg="add mod">
          <ac:chgData name="Kadian Bogle" userId="76cab89d-9b55-45a8-91e0-56ac793fecde" providerId="ADAL" clId="{E8FF9108-E8FE-4427-BBEA-BE363B5FB795}" dt="2024-03-01T21:35:17.163" v="530" actId="1076"/>
          <ac:spMkLst>
            <pc:docMk/>
            <pc:sldMk cId="1863582861" sldId="2147470422"/>
            <ac:spMk id="11" creationId="{4388FBA2-22F6-6990-EB13-3F2D378A98A4}"/>
          </ac:spMkLst>
        </pc:spChg>
        <pc:spChg chg="add mod">
          <ac:chgData name="Kadian Bogle" userId="76cab89d-9b55-45a8-91e0-56ac793fecde" providerId="ADAL" clId="{E8FF9108-E8FE-4427-BBEA-BE363B5FB795}" dt="2024-03-01T21:28:23.803" v="494" actId="1076"/>
          <ac:spMkLst>
            <pc:docMk/>
            <pc:sldMk cId="1863582861" sldId="2147470422"/>
            <ac:spMk id="12" creationId="{C39291B8-CE2C-B475-3199-0CC31F658FD0}"/>
          </ac:spMkLst>
        </pc:spChg>
        <pc:spChg chg="add mod">
          <ac:chgData name="Kadian Bogle" userId="76cab89d-9b55-45a8-91e0-56ac793fecde" providerId="ADAL" clId="{E8FF9108-E8FE-4427-BBEA-BE363B5FB795}" dt="2024-03-01T21:35:55.559" v="534" actId="1076"/>
          <ac:spMkLst>
            <pc:docMk/>
            <pc:sldMk cId="1863582861" sldId="2147470422"/>
            <ac:spMk id="13" creationId="{4FE3B5C5-BCEF-4FAD-D014-4EC2DCDE2E06}"/>
          </ac:spMkLst>
        </pc:spChg>
        <pc:spChg chg="mod">
          <ac:chgData name="Kadian Bogle" userId="76cab89d-9b55-45a8-91e0-56ac793fecde" providerId="ADAL" clId="{E8FF9108-E8FE-4427-BBEA-BE363B5FB795}" dt="2024-03-01T21:35:23.109" v="531" actId="14100"/>
          <ac:spMkLst>
            <pc:docMk/>
            <pc:sldMk cId="1863582861" sldId="2147470422"/>
            <ac:spMk id="15" creationId="{FD10A6EE-AA57-42F5-9025-C6DBE5139966}"/>
          </ac:spMkLst>
        </pc:spChg>
        <pc:spChg chg="mod">
          <ac:chgData name="Kadian Bogle" userId="76cab89d-9b55-45a8-91e0-56ac793fecde" providerId="ADAL" clId="{E8FF9108-E8FE-4427-BBEA-BE363B5FB795}" dt="2024-03-01T21:31:07.648" v="514" actId="1076"/>
          <ac:spMkLst>
            <pc:docMk/>
            <pc:sldMk cId="1863582861" sldId="2147470422"/>
            <ac:spMk id="16" creationId="{BD5E17CF-149E-465A-A865-37E34B969414}"/>
          </ac:spMkLst>
        </pc:spChg>
        <pc:spChg chg="mod">
          <ac:chgData name="Kadian Bogle" userId="76cab89d-9b55-45a8-91e0-56ac793fecde" providerId="ADAL" clId="{E8FF9108-E8FE-4427-BBEA-BE363B5FB795}" dt="2024-03-01T21:36:15.809" v="537" actId="14100"/>
          <ac:spMkLst>
            <pc:docMk/>
            <pc:sldMk cId="1863582861" sldId="2147470422"/>
            <ac:spMk id="17" creationId="{CA7B6EA8-9706-453B-88F1-2F5F1468B23B}"/>
          </ac:spMkLst>
        </pc:spChg>
        <pc:spChg chg="del">
          <ac:chgData name="Kadian Bogle" userId="76cab89d-9b55-45a8-91e0-56ac793fecde" providerId="ADAL" clId="{E8FF9108-E8FE-4427-BBEA-BE363B5FB795}" dt="2024-03-01T21:21:34.865" v="349" actId="478"/>
          <ac:spMkLst>
            <pc:docMk/>
            <pc:sldMk cId="1863582861" sldId="2147470422"/>
            <ac:spMk id="18" creationId="{C7590753-1593-42D8-842F-6CB90320C036}"/>
          </ac:spMkLst>
        </pc:spChg>
        <pc:spChg chg="mod">
          <ac:chgData name="Kadian Bogle" userId="76cab89d-9b55-45a8-91e0-56ac793fecde" providerId="ADAL" clId="{E8FF9108-E8FE-4427-BBEA-BE363B5FB795}" dt="2024-03-01T21:31:29.896" v="515" actId="1076"/>
          <ac:spMkLst>
            <pc:docMk/>
            <pc:sldMk cId="1863582861" sldId="2147470422"/>
            <ac:spMk id="19" creationId="{4A2E14C8-1855-4999-BBA3-B2FE6CA61294}"/>
          </ac:spMkLst>
        </pc:spChg>
        <pc:spChg chg="mod">
          <ac:chgData name="Kadian Bogle" userId="76cab89d-9b55-45a8-91e0-56ac793fecde" providerId="ADAL" clId="{E8FF9108-E8FE-4427-BBEA-BE363B5FB795}" dt="2024-03-01T21:35:09.502" v="529" actId="1076"/>
          <ac:spMkLst>
            <pc:docMk/>
            <pc:sldMk cId="1863582861" sldId="2147470422"/>
            <ac:spMk id="20" creationId="{D2A043D1-E2C3-454B-8F14-475FC3B30FDD}"/>
          </ac:spMkLst>
        </pc:spChg>
        <pc:spChg chg="del mod">
          <ac:chgData name="Kadian Bogle" userId="76cab89d-9b55-45a8-91e0-56ac793fecde" providerId="ADAL" clId="{E8FF9108-E8FE-4427-BBEA-BE363B5FB795}" dt="2024-03-01T21:24:34.432" v="438" actId="478"/>
          <ac:spMkLst>
            <pc:docMk/>
            <pc:sldMk cId="1863582861" sldId="2147470422"/>
            <ac:spMk id="21" creationId="{D41CC5E7-4B9A-4DF9-85A2-53F8268D03C5}"/>
          </ac:spMkLst>
        </pc:spChg>
        <pc:spChg chg="add mod">
          <ac:chgData name="Kadian Bogle" userId="76cab89d-9b55-45a8-91e0-56ac793fecde" providerId="ADAL" clId="{E8FF9108-E8FE-4427-BBEA-BE363B5FB795}" dt="2024-03-01T21:35:51.563" v="533" actId="1076"/>
          <ac:spMkLst>
            <pc:docMk/>
            <pc:sldMk cId="1863582861" sldId="2147470422"/>
            <ac:spMk id="22" creationId="{8614979E-6DF3-BF82-03B7-6B6AEA494BF0}"/>
          </ac:spMkLst>
        </pc:spChg>
        <pc:spChg chg="add mod">
          <ac:chgData name="Kadian Bogle" userId="76cab89d-9b55-45a8-91e0-56ac793fecde" providerId="ADAL" clId="{E8FF9108-E8FE-4427-BBEA-BE363B5FB795}" dt="2024-03-01T21:36:07.254" v="536" actId="1076"/>
          <ac:spMkLst>
            <pc:docMk/>
            <pc:sldMk cId="1863582861" sldId="2147470422"/>
            <ac:spMk id="23" creationId="{C31F9C19-223B-3C08-665D-114524D057FD}"/>
          </ac:spMkLst>
        </pc:spChg>
        <pc:grpChg chg="mod">
          <ac:chgData name="Kadian Bogle" userId="76cab89d-9b55-45a8-91e0-56ac793fecde" providerId="ADAL" clId="{E8FF9108-E8FE-4427-BBEA-BE363B5FB795}" dt="2024-03-01T21:35:02.155" v="527" actId="1076"/>
          <ac:grpSpMkLst>
            <pc:docMk/>
            <pc:sldMk cId="1863582861" sldId="2147470422"/>
            <ac:grpSpMk id="14" creationId="{111794B8-3D10-4EF1-8B45-D6A2C179BE8B}"/>
          </ac:grpSpMkLst>
        </pc:grpChg>
        <pc:grpChg chg="del">
          <ac:chgData name="Kadian Bogle" userId="76cab89d-9b55-45a8-91e0-56ac793fecde" providerId="ADAL" clId="{E8FF9108-E8FE-4427-BBEA-BE363B5FB795}" dt="2024-03-01T21:14:35.269" v="123" actId="478"/>
          <ac:grpSpMkLst>
            <pc:docMk/>
            <pc:sldMk cId="1863582861" sldId="2147470422"/>
            <ac:grpSpMk id="75" creationId="{D28FC00C-8190-478B-88EC-052C9C56418E}"/>
          </ac:grpSpMkLst>
        </pc:grpChg>
        <pc:picChg chg="add del mod">
          <ac:chgData name="Kadian Bogle" userId="76cab89d-9b55-45a8-91e0-56ac793fecde" providerId="ADAL" clId="{E8FF9108-E8FE-4427-BBEA-BE363B5FB795}" dt="2024-03-01T21:23:44.732" v="406"/>
          <ac:picMkLst>
            <pc:docMk/>
            <pc:sldMk cId="1863582861" sldId="2147470422"/>
            <ac:picMk id="8" creationId="{812B5781-2EFF-FEE3-B74E-718072EDDE20}"/>
          </ac:picMkLst>
        </pc:picChg>
      </pc:sldChg>
      <pc:sldChg chg="new ord">
        <pc:chgData name="Kadian Bogle" userId="76cab89d-9b55-45a8-91e0-56ac793fecde" providerId="ADAL" clId="{E8FF9108-E8FE-4427-BBEA-BE363B5FB795}" dt="2024-03-01T20:45:42.988" v="2"/>
        <pc:sldMkLst>
          <pc:docMk/>
          <pc:sldMk cId="3827987810" sldId="2147470423"/>
        </pc:sldMkLst>
      </pc:sldChg>
      <pc:sldChg chg="addSp delSp modSp new mod modClrScheme chgLayout">
        <pc:chgData name="Kadian Bogle" userId="76cab89d-9b55-45a8-91e0-56ac793fecde" providerId="ADAL" clId="{E8FF9108-E8FE-4427-BBEA-BE363B5FB795}" dt="2024-03-01T20:56:27.527" v="59" actId="26606"/>
        <pc:sldMkLst>
          <pc:docMk/>
          <pc:sldMk cId="4022858806" sldId="2147470424"/>
        </pc:sldMkLst>
        <pc:spChg chg="mod">
          <ac:chgData name="Kadian Bogle" userId="76cab89d-9b55-45a8-91e0-56ac793fecde" providerId="ADAL" clId="{E8FF9108-E8FE-4427-BBEA-BE363B5FB795}" dt="2024-03-01T20:49:08.176" v="47" actId="26606"/>
          <ac:spMkLst>
            <pc:docMk/>
            <pc:sldMk cId="4022858806" sldId="2147470424"/>
            <ac:spMk id="2" creationId="{0689FCED-7D58-9B77-0752-52FC1388C9BD}"/>
          </ac:spMkLst>
        </pc:spChg>
        <pc:spChg chg="mod ord modVis">
          <ac:chgData name="Kadian Bogle" userId="76cab89d-9b55-45a8-91e0-56ac793fecde" providerId="ADAL" clId="{E8FF9108-E8FE-4427-BBEA-BE363B5FB795}" dt="2024-03-01T20:48:57.421" v="46" actId="26606"/>
          <ac:spMkLst>
            <pc:docMk/>
            <pc:sldMk cId="4022858806" sldId="2147470424"/>
            <ac:spMk id="3" creationId="{B5C8AB0F-BACD-611E-90E0-746E0BEA25D9}"/>
          </ac:spMkLst>
        </pc:spChg>
        <pc:spChg chg="mod">
          <ac:chgData name="Kadian Bogle" userId="76cab89d-9b55-45a8-91e0-56ac793fecde" providerId="ADAL" clId="{E8FF9108-E8FE-4427-BBEA-BE363B5FB795}" dt="2024-03-01T20:49:08.176" v="47" actId="26606"/>
          <ac:spMkLst>
            <pc:docMk/>
            <pc:sldMk cId="4022858806" sldId="2147470424"/>
            <ac:spMk id="4" creationId="{542663A0-3AFA-B00D-0565-62F2AF75DD19}"/>
          </ac:spMkLst>
        </pc:spChg>
        <pc:spChg chg="mod">
          <ac:chgData name="Kadian Bogle" userId="76cab89d-9b55-45a8-91e0-56ac793fecde" providerId="ADAL" clId="{E8FF9108-E8FE-4427-BBEA-BE363B5FB795}" dt="2024-03-01T20:49:08.176" v="47" actId="26606"/>
          <ac:spMkLst>
            <pc:docMk/>
            <pc:sldMk cId="4022858806" sldId="2147470424"/>
            <ac:spMk id="5" creationId="{F84D6649-74DF-17F0-0FCA-64EC01032D60}"/>
          </ac:spMkLst>
        </pc:spChg>
        <pc:spChg chg="add del mod">
          <ac:chgData name="Kadian Bogle" userId="76cab89d-9b55-45a8-91e0-56ac793fecde" providerId="ADAL" clId="{E8FF9108-E8FE-4427-BBEA-BE363B5FB795}" dt="2024-03-01T20:48:57.421" v="46" actId="26606"/>
          <ac:spMkLst>
            <pc:docMk/>
            <pc:sldMk cId="4022858806" sldId="2147470424"/>
            <ac:spMk id="6" creationId="{097160EE-5B20-9A64-2672-FCFECEAC8B9D}"/>
          </ac:spMkLst>
        </pc:spChg>
        <pc:spChg chg="add del">
          <ac:chgData name="Kadian Bogle" userId="76cab89d-9b55-45a8-91e0-56ac793fecde" providerId="ADAL" clId="{E8FF9108-E8FE-4427-BBEA-BE363B5FB795}" dt="2024-03-01T20:48:55.084" v="43" actId="26606"/>
          <ac:spMkLst>
            <pc:docMk/>
            <pc:sldMk cId="4022858806" sldId="2147470424"/>
            <ac:spMk id="10" creationId="{097160EE-5B20-9A64-2672-FCFECEAC8B9D}"/>
          </ac:spMkLst>
        </pc:spChg>
        <pc:graphicFrameChg chg="add del">
          <ac:chgData name="Kadian Bogle" userId="76cab89d-9b55-45a8-91e0-56ac793fecde" providerId="ADAL" clId="{E8FF9108-E8FE-4427-BBEA-BE363B5FB795}" dt="2024-03-01T20:48:54.021" v="41" actId="26606"/>
          <ac:graphicFrameMkLst>
            <pc:docMk/>
            <pc:sldMk cId="4022858806" sldId="2147470424"/>
            <ac:graphicFrameMk id="8" creationId="{108DB22B-C793-A4F8-BCBC-8BF4B02DCB4A}"/>
          </ac:graphicFrameMkLst>
        </pc:graphicFrameChg>
        <pc:graphicFrameChg chg="add del">
          <ac:chgData name="Kadian Bogle" userId="76cab89d-9b55-45a8-91e0-56ac793fecde" providerId="ADAL" clId="{E8FF9108-E8FE-4427-BBEA-BE363B5FB795}" dt="2024-03-01T20:48:57.383" v="45" actId="26606"/>
          <ac:graphicFrameMkLst>
            <pc:docMk/>
            <pc:sldMk cId="4022858806" sldId="2147470424"/>
            <ac:graphicFrameMk id="12" creationId="{4C48CE0A-432E-89DD-082C-D3814B95EA84}"/>
          </ac:graphicFrameMkLst>
        </pc:graphicFrameChg>
        <pc:graphicFrameChg chg="add mod modGraphic">
          <ac:chgData name="Kadian Bogle" userId="76cab89d-9b55-45a8-91e0-56ac793fecde" providerId="ADAL" clId="{E8FF9108-E8FE-4427-BBEA-BE363B5FB795}" dt="2024-03-01T20:56:27.527" v="59" actId="26606"/>
          <ac:graphicFrameMkLst>
            <pc:docMk/>
            <pc:sldMk cId="4022858806" sldId="2147470424"/>
            <ac:graphicFrameMk id="14" creationId="{108DB22B-C793-A4F8-BCBC-8BF4B02DCB4A}"/>
          </ac:graphicFrameMkLst>
        </pc:graphicFrameChg>
      </pc:sldChg>
      <pc:sldChg chg="modSp add del mod">
        <pc:chgData name="Kadian Bogle" userId="76cab89d-9b55-45a8-91e0-56ac793fecde" providerId="ADAL" clId="{E8FF9108-E8FE-4427-BBEA-BE363B5FB795}" dt="2024-03-01T21:16:32.402" v="164" actId="47"/>
        <pc:sldMkLst>
          <pc:docMk/>
          <pc:sldMk cId="1334092035" sldId="2147470425"/>
        </pc:sldMkLst>
        <pc:spChg chg="mod">
          <ac:chgData name="Kadian Bogle" userId="76cab89d-9b55-45a8-91e0-56ac793fecde" providerId="ADAL" clId="{E8FF9108-E8FE-4427-BBEA-BE363B5FB795}" dt="2024-03-01T21:13:50.190" v="120" actId="20577"/>
          <ac:spMkLst>
            <pc:docMk/>
            <pc:sldMk cId="1334092035" sldId="2147470425"/>
            <ac:spMk id="17" creationId="{CA7B6EA8-9706-453B-88F1-2F5F1468B23B}"/>
          </ac:spMkLst>
        </pc:spChg>
      </pc:sldChg>
      <pc:sldChg chg="addSp delSp modSp new del mod">
        <pc:chgData name="Kadian Bogle" userId="76cab89d-9b55-45a8-91e0-56ac793fecde" providerId="ADAL" clId="{E8FF9108-E8FE-4427-BBEA-BE363B5FB795}" dt="2024-03-01T21:02:29.164" v="85" actId="47"/>
        <pc:sldMkLst>
          <pc:docMk/>
          <pc:sldMk cId="3668486248" sldId="2147470425"/>
        </pc:sldMkLst>
        <pc:spChg chg="mod">
          <ac:chgData name="Kadian Bogle" userId="76cab89d-9b55-45a8-91e0-56ac793fecde" providerId="ADAL" clId="{E8FF9108-E8FE-4427-BBEA-BE363B5FB795}" dt="2024-03-01T20:56:59.010" v="60"/>
          <ac:spMkLst>
            <pc:docMk/>
            <pc:sldMk cId="3668486248" sldId="2147470425"/>
            <ac:spMk id="2" creationId="{C269BCC3-F4FC-04C7-89AB-882A564E2BC8}"/>
          </ac:spMkLst>
        </pc:spChg>
        <pc:cxnChg chg="add mod">
          <ac:chgData name="Kadian Bogle" userId="76cab89d-9b55-45a8-91e0-56ac793fecde" providerId="ADAL" clId="{E8FF9108-E8FE-4427-BBEA-BE363B5FB795}" dt="2024-03-01T20:59:42.188" v="62" actId="13822"/>
          <ac:cxnSpMkLst>
            <pc:docMk/>
            <pc:sldMk cId="3668486248" sldId="2147470425"/>
            <ac:cxnSpMk id="7" creationId="{389D0EE7-81CA-5F19-26B9-350D7353A14F}"/>
          </ac:cxnSpMkLst>
        </pc:cxnChg>
        <pc:cxnChg chg="add del mod">
          <ac:chgData name="Kadian Bogle" userId="76cab89d-9b55-45a8-91e0-56ac793fecde" providerId="ADAL" clId="{E8FF9108-E8FE-4427-BBEA-BE363B5FB795}" dt="2024-03-01T21:00:20.775" v="66" actId="478"/>
          <ac:cxnSpMkLst>
            <pc:docMk/>
            <pc:sldMk cId="3668486248" sldId="2147470425"/>
            <ac:cxnSpMk id="9" creationId="{01D989A5-0539-CEF5-D4F2-63AF8D1B96FE}"/>
          </ac:cxnSpMkLst>
        </pc:cxnChg>
        <pc:cxnChg chg="add mod">
          <ac:chgData name="Kadian Bogle" userId="76cab89d-9b55-45a8-91e0-56ac793fecde" providerId="ADAL" clId="{E8FF9108-E8FE-4427-BBEA-BE363B5FB795}" dt="2024-03-01T21:01:00.923" v="68" actId="14100"/>
          <ac:cxnSpMkLst>
            <pc:docMk/>
            <pc:sldMk cId="3668486248" sldId="2147470425"/>
            <ac:cxnSpMk id="12" creationId="{42933BD4-DE4F-1E5B-6469-4347C2D87B48}"/>
          </ac:cxnSpMkLst>
        </pc:cxnChg>
      </pc:sldChg>
      <pc:sldChg chg="addSp delSp modSp new mod">
        <pc:chgData name="Kadian Bogle" userId="76cab89d-9b55-45a8-91e0-56ac793fecde" providerId="ADAL" clId="{E8FF9108-E8FE-4427-BBEA-BE363B5FB795}" dt="2024-03-01T22:40:54.133" v="1557" actId="12269"/>
        <pc:sldMkLst>
          <pc:docMk/>
          <pc:sldMk cId="1815646555" sldId="2147470429"/>
        </pc:sldMkLst>
        <pc:spChg chg="mod">
          <ac:chgData name="Kadian Bogle" userId="76cab89d-9b55-45a8-91e0-56ac793fecde" providerId="ADAL" clId="{E8FF9108-E8FE-4427-BBEA-BE363B5FB795}" dt="2024-03-01T21:53:36.174" v="679" actId="26606"/>
          <ac:spMkLst>
            <pc:docMk/>
            <pc:sldMk cId="1815646555" sldId="2147470429"/>
            <ac:spMk id="2" creationId="{0D493B66-1A95-8362-1F09-054D626A7026}"/>
          </ac:spMkLst>
        </pc:spChg>
        <pc:spChg chg="del">
          <ac:chgData name="Kadian Bogle" userId="76cab89d-9b55-45a8-91e0-56ac793fecde" providerId="ADAL" clId="{E8FF9108-E8FE-4427-BBEA-BE363B5FB795}" dt="2024-03-01T21:32:59.593" v="519" actId="1032"/>
          <ac:spMkLst>
            <pc:docMk/>
            <pc:sldMk cId="1815646555" sldId="2147470429"/>
            <ac:spMk id="3" creationId="{092D21FF-281F-52EE-B219-F93C38F047B8}"/>
          </ac:spMkLst>
        </pc:spChg>
        <pc:spChg chg="mod">
          <ac:chgData name="Kadian Bogle" userId="76cab89d-9b55-45a8-91e0-56ac793fecde" providerId="ADAL" clId="{E8FF9108-E8FE-4427-BBEA-BE363B5FB795}" dt="2024-03-01T21:50:40.348" v="670" actId="26606"/>
          <ac:spMkLst>
            <pc:docMk/>
            <pc:sldMk cId="1815646555" sldId="2147470429"/>
            <ac:spMk id="4" creationId="{B41C9736-D8A5-60F6-489E-0CD45D2BD98C}"/>
          </ac:spMkLst>
        </pc:spChg>
        <pc:spChg chg="mod">
          <ac:chgData name="Kadian Bogle" userId="76cab89d-9b55-45a8-91e0-56ac793fecde" providerId="ADAL" clId="{E8FF9108-E8FE-4427-BBEA-BE363B5FB795}" dt="2024-03-01T21:50:40.348" v="670" actId="26606"/>
          <ac:spMkLst>
            <pc:docMk/>
            <pc:sldMk cId="1815646555" sldId="2147470429"/>
            <ac:spMk id="5" creationId="{5C33CDB4-64C8-3C9A-7E98-97AAE3A58DC6}"/>
          </ac:spMkLst>
        </pc:spChg>
        <pc:spChg chg="add del mod">
          <ac:chgData name="Kadian Bogle" userId="76cab89d-9b55-45a8-91e0-56ac793fecde" providerId="ADAL" clId="{E8FF9108-E8FE-4427-BBEA-BE363B5FB795}" dt="2024-03-01T21:34:30.993" v="522" actId="1032"/>
          <ac:spMkLst>
            <pc:docMk/>
            <pc:sldMk cId="1815646555" sldId="2147470429"/>
            <ac:spMk id="8" creationId="{18BB613F-E056-A638-6463-5FA081D6EF0A}"/>
          </ac:spMkLst>
        </pc:spChg>
        <pc:spChg chg="add del mod">
          <ac:chgData name="Kadian Bogle" userId="76cab89d-9b55-45a8-91e0-56ac793fecde" providerId="ADAL" clId="{E8FF9108-E8FE-4427-BBEA-BE363B5FB795}" dt="2024-03-01T21:36:59.078" v="538" actId="1032"/>
          <ac:spMkLst>
            <pc:docMk/>
            <pc:sldMk cId="1815646555" sldId="2147470429"/>
            <ac:spMk id="11" creationId="{B9AF97EC-964E-8233-AD47-55B11EBAE64A}"/>
          </ac:spMkLst>
        </pc:spChg>
        <pc:spChg chg="add mod ord">
          <ac:chgData name="Kadian Bogle" userId="76cab89d-9b55-45a8-91e0-56ac793fecde" providerId="ADAL" clId="{E8FF9108-E8FE-4427-BBEA-BE363B5FB795}" dt="2024-03-01T21:53:36.174" v="679" actId="26606"/>
          <ac:spMkLst>
            <pc:docMk/>
            <pc:sldMk cId="1815646555" sldId="2147470429"/>
            <ac:spMk id="13" creationId="{6B95C3BD-36C8-C463-2D0E-F94DE079D537}"/>
          </ac:spMkLst>
        </pc:spChg>
        <pc:spChg chg="add del mod">
          <ac:chgData name="Kadian Bogle" userId="76cab89d-9b55-45a8-91e0-56ac793fecde" providerId="ADAL" clId="{E8FF9108-E8FE-4427-BBEA-BE363B5FB795}" dt="2024-03-01T21:43:02.217" v="556" actId="478"/>
          <ac:spMkLst>
            <pc:docMk/>
            <pc:sldMk cId="1815646555" sldId="2147470429"/>
            <ac:spMk id="15" creationId="{B338ABF5-AD85-E857-4DFD-9C99F62FA5CD}"/>
          </ac:spMkLst>
        </pc:spChg>
        <pc:graphicFrameChg chg="add del mod modGraphic">
          <ac:chgData name="Kadian Bogle" userId="76cab89d-9b55-45a8-91e0-56ac793fecde" providerId="ADAL" clId="{E8FF9108-E8FE-4427-BBEA-BE363B5FB795}" dt="2024-03-01T21:33:30.137" v="521" actId="478"/>
          <ac:graphicFrameMkLst>
            <pc:docMk/>
            <pc:sldMk cId="1815646555" sldId="2147470429"/>
            <ac:graphicFrameMk id="6" creationId="{B1D4A9E7-9E78-1A49-57AE-8E9002E22E31}"/>
          </ac:graphicFrameMkLst>
        </pc:graphicFrameChg>
        <pc:graphicFrameChg chg="add del mod modGraphic">
          <ac:chgData name="Kadian Bogle" userId="76cab89d-9b55-45a8-91e0-56ac793fecde" providerId="ADAL" clId="{E8FF9108-E8FE-4427-BBEA-BE363B5FB795}" dt="2024-03-01T21:34:50.881" v="525" actId="478"/>
          <ac:graphicFrameMkLst>
            <pc:docMk/>
            <pc:sldMk cId="1815646555" sldId="2147470429"/>
            <ac:graphicFrameMk id="9" creationId="{8CCD9D6D-2A13-B52D-FB02-E4ACDD032CEB}"/>
          </ac:graphicFrameMkLst>
        </pc:graphicFrameChg>
        <pc:graphicFrameChg chg="add del mod modGraphic">
          <ac:chgData name="Kadian Bogle" userId="76cab89d-9b55-45a8-91e0-56ac793fecde" providerId="ADAL" clId="{E8FF9108-E8FE-4427-BBEA-BE363B5FB795}" dt="2024-03-01T22:40:54.133" v="1557" actId="12269"/>
          <ac:graphicFrameMkLst>
            <pc:docMk/>
            <pc:sldMk cId="1815646555" sldId="2147470429"/>
            <ac:graphicFrameMk id="12" creationId="{6428744C-59BE-6391-42C8-3FB5A24EDEB4}"/>
          </ac:graphicFrameMkLst>
        </pc:graphicFrameChg>
      </pc:sldChg>
      <pc:sldChg chg="addSp delSp modSp new mod">
        <pc:chgData name="Kadian Bogle" userId="76cab89d-9b55-45a8-91e0-56ac793fecde" providerId="ADAL" clId="{E8FF9108-E8FE-4427-BBEA-BE363B5FB795}" dt="2024-03-01T23:28:11.174" v="1995" actId="403"/>
        <pc:sldMkLst>
          <pc:docMk/>
          <pc:sldMk cId="906068552" sldId="2147470430"/>
        </pc:sldMkLst>
        <pc:spChg chg="mod">
          <ac:chgData name="Kadian Bogle" userId="76cab89d-9b55-45a8-91e0-56ac793fecde" providerId="ADAL" clId="{E8FF9108-E8FE-4427-BBEA-BE363B5FB795}" dt="2024-03-01T22:59:42.255" v="1753" actId="20577"/>
          <ac:spMkLst>
            <pc:docMk/>
            <pc:sldMk cId="906068552" sldId="2147470430"/>
            <ac:spMk id="2" creationId="{1C652582-C388-F649-8158-91B5FC542000}"/>
          </ac:spMkLst>
        </pc:spChg>
        <pc:spChg chg="add del mod">
          <ac:chgData name="Kadian Bogle" userId="76cab89d-9b55-45a8-91e0-56ac793fecde" providerId="ADAL" clId="{E8FF9108-E8FE-4427-BBEA-BE363B5FB795}" dt="2024-03-01T22:22:23.711" v="1051" actId="478"/>
          <ac:spMkLst>
            <pc:docMk/>
            <pc:sldMk cId="906068552" sldId="2147470430"/>
            <ac:spMk id="3" creationId="{B3114ADD-A408-576A-6622-DE2589B79744}"/>
          </ac:spMkLst>
        </pc:spChg>
        <pc:spChg chg="mod">
          <ac:chgData name="Kadian Bogle" userId="76cab89d-9b55-45a8-91e0-56ac793fecde" providerId="ADAL" clId="{E8FF9108-E8FE-4427-BBEA-BE363B5FB795}" dt="2024-03-01T22:36:38.190" v="1469" actId="26606"/>
          <ac:spMkLst>
            <pc:docMk/>
            <pc:sldMk cId="906068552" sldId="2147470430"/>
            <ac:spMk id="4" creationId="{736275FE-66AC-75C6-4243-6931E83E3E4D}"/>
          </ac:spMkLst>
        </pc:spChg>
        <pc:spChg chg="mod">
          <ac:chgData name="Kadian Bogle" userId="76cab89d-9b55-45a8-91e0-56ac793fecde" providerId="ADAL" clId="{E8FF9108-E8FE-4427-BBEA-BE363B5FB795}" dt="2024-03-01T22:36:38.190" v="1469" actId="26606"/>
          <ac:spMkLst>
            <pc:docMk/>
            <pc:sldMk cId="906068552" sldId="2147470430"/>
            <ac:spMk id="5" creationId="{5A609462-5516-E841-ED64-425794C0895C}"/>
          </ac:spMkLst>
        </pc:spChg>
        <pc:spChg chg="add mod ord">
          <ac:chgData name="Kadian Bogle" userId="76cab89d-9b55-45a8-91e0-56ac793fecde" providerId="ADAL" clId="{E8FF9108-E8FE-4427-BBEA-BE363B5FB795}" dt="2024-03-01T22:56:08.762" v="1667" actId="1076"/>
          <ac:spMkLst>
            <pc:docMk/>
            <pc:sldMk cId="906068552" sldId="2147470430"/>
            <ac:spMk id="6" creationId="{A97307BA-9BD3-DE25-3C2F-494354A8A8D1}"/>
          </ac:spMkLst>
        </pc:spChg>
        <pc:spChg chg="add del mod">
          <ac:chgData name="Kadian Bogle" userId="76cab89d-9b55-45a8-91e0-56ac793fecde" providerId="ADAL" clId="{E8FF9108-E8FE-4427-BBEA-BE363B5FB795}" dt="2024-03-01T22:22:26.168" v="1052" actId="478"/>
          <ac:spMkLst>
            <pc:docMk/>
            <pc:sldMk cId="906068552" sldId="2147470430"/>
            <ac:spMk id="9" creationId="{FA811199-2ED6-AA5E-F9B1-7AD2DAFFA698}"/>
          </ac:spMkLst>
        </pc:spChg>
        <pc:spChg chg="add del mod">
          <ac:chgData name="Kadian Bogle" userId="76cab89d-9b55-45a8-91e0-56ac793fecde" providerId="ADAL" clId="{E8FF9108-E8FE-4427-BBEA-BE363B5FB795}" dt="2024-03-01T22:55:17.780" v="1660" actId="478"/>
          <ac:spMkLst>
            <pc:docMk/>
            <pc:sldMk cId="906068552" sldId="2147470430"/>
            <ac:spMk id="18" creationId="{EFAC6965-96B7-EECE-BFF0-A2FEBB60F69D}"/>
          </ac:spMkLst>
        </pc:spChg>
        <pc:spChg chg="add del mod">
          <ac:chgData name="Kadian Bogle" userId="76cab89d-9b55-45a8-91e0-56ac793fecde" providerId="ADAL" clId="{E8FF9108-E8FE-4427-BBEA-BE363B5FB795}" dt="2024-03-01T23:27:51.532" v="1992" actId="478"/>
          <ac:spMkLst>
            <pc:docMk/>
            <pc:sldMk cId="906068552" sldId="2147470430"/>
            <ac:spMk id="20" creationId="{678CA67C-4C2F-4C68-B656-505178ABAE27}"/>
          </ac:spMkLst>
        </pc:spChg>
        <pc:spChg chg="add mod ord">
          <ac:chgData name="Kadian Bogle" userId="76cab89d-9b55-45a8-91e0-56ac793fecde" providerId="ADAL" clId="{E8FF9108-E8FE-4427-BBEA-BE363B5FB795}" dt="2024-03-01T23:25:00.607" v="1981" actId="403"/>
          <ac:spMkLst>
            <pc:docMk/>
            <pc:sldMk cId="906068552" sldId="2147470430"/>
            <ac:spMk id="21" creationId="{7EC210F8-E0A0-54F8-F882-85A822FDC3CA}"/>
          </ac:spMkLst>
        </pc:spChg>
        <pc:spChg chg="add del mod">
          <ac:chgData name="Kadian Bogle" userId="76cab89d-9b55-45a8-91e0-56ac793fecde" providerId="ADAL" clId="{E8FF9108-E8FE-4427-BBEA-BE363B5FB795}" dt="2024-03-01T23:02:01.904" v="1769" actId="478"/>
          <ac:spMkLst>
            <pc:docMk/>
            <pc:sldMk cId="906068552" sldId="2147470430"/>
            <ac:spMk id="22" creationId="{B6168198-41F3-3257-2F71-A358D0C2D691}"/>
          </ac:spMkLst>
        </pc:spChg>
        <pc:spChg chg="add del mod ord">
          <ac:chgData name="Kadian Bogle" userId="76cab89d-9b55-45a8-91e0-56ac793fecde" providerId="ADAL" clId="{E8FF9108-E8FE-4427-BBEA-BE363B5FB795}" dt="2024-03-01T23:12:51.180" v="1862" actId="478"/>
          <ac:spMkLst>
            <pc:docMk/>
            <pc:sldMk cId="906068552" sldId="2147470430"/>
            <ac:spMk id="23" creationId="{D60AFF57-AB30-92A6-57F3-3142273D6BBE}"/>
          </ac:spMkLst>
        </pc:spChg>
        <pc:spChg chg="add mod">
          <ac:chgData name="Kadian Bogle" userId="76cab89d-9b55-45a8-91e0-56ac793fecde" providerId="ADAL" clId="{E8FF9108-E8FE-4427-BBEA-BE363B5FB795}" dt="2024-03-01T23:25:38.662" v="1986" actId="403"/>
          <ac:spMkLst>
            <pc:docMk/>
            <pc:sldMk cId="906068552" sldId="2147470430"/>
            <ac:spMk id="24" creationId="{780EC602-A510-4958-0037-CDCC3296643A}"/>
          </ac:spMkLst>
        </pc:spChg>
        <pc:spChg chg="add mod">
          <ac:chgData name="Kadian Bogle" userId="76cab89d-9b55-45a8-91e0-56ac793fecde" providerId="ADAL" clId="{E8FF9108-E8FE-4427-BBEA-BE363B5FB795}" dt="2024-03-01T23:04:04.967" v="1783" actId="767"/>
          <ac:spMkLst>
            <pc:docMk/>
            <pc:sldMk cId="906068552" sldId="2147470430"/>
            <ac:spMk id="25" creationId="{1BB29C7D-FFD2-8D8C-3C6D-18B65F1688D4}"/>
          </ac:spMkLst>
        </pc:spChg>
        <pc:spChg chg="add del mod">
          <ac:chgData name="Kadian Bogle" userId="76cab89d-9b55-45a8-91e0-56ac793fecde" providerId="ADAL" clId="{E8FF9108-E8FE-4427-BBEA-BE363B5FB795}" dt="2024-03-01T23:12:49.838" v="1861" actId="478"/>
          <ac:spMkLst>
            <pc:docMk/>
            <pc:sldMk cId="906068552" sldId="2147470430"/>
            <ac:spMk id="26" creationId="{7700B8E1-BD35-B97A-91D0-E93097DDD931}"/>
          </ac:spMkLst>
        </pc:spChg>
        <pc:spChg chg="add del mod">
          <ac:chgData name="Kadian Bogle" userId="76cab89d-9b55-45a8-91e0-56ac793fecde" providerId="ADAL" clId="{E8FF9108-E8FE-4427-BBEA-BE363B5FB795}" dt="2024-03-01T23:08:48.219" v="1828" actId="478"/>
          <ac:spMkLst>
            <pc:docMk/>
            <pc:sldMk cId="906068552" sldId="2147470430"/>
            <ac:spMk id="27" creationId="{815E57E2-F974-8B0C-E204-A8DAFF001929}"/>
          </ac:spMkLst>
        </pc:spChg>
        <pc:spChg chg="add del mod">
          <ac:chgData name="Kadian Bogle" userId="76cab89d-9b55-45a8-91e0-56ac793fecde" providerId="ADAL" clId="{E8FF9108-E8FE-4427-BBEA-BE363B5FB795}" dt="2024-03-01T23:12:47.741" v="1860" actId="478"/>
          <ac:spMkLst>
            <pc:docMk/>
            <pc:sldMk cId="906068552" sldId="2147470430"/>
            <ac:spMk id="28" creationId="{1095FCD7-9B65-B4D1-F705-5A4D05A85822}"/>
          </ac:spMkLst>
        </pc:spChg>
        <pc:spChg chg="add mod ord">
          <ac:chgData name="Kadian Bogle" userId="76cab89d-9b55-45a8-91e0-56ac793fecde" providerId="ADAL" clId="{E8FF9108-E8FE-4427-BBEA-BE363B5FB795}" dt="2024-03-01T23:25:30.052" v="1985" actId="403"/>
          <ac:spMkLst>
            <pc:docMk/>
            <pc:sldMk cId="906068552" sldId="2147470430"/>
            <ac:spMk id="29" creationId="{55CFD0AE-5610-2C95-4600-1D07D107E83F}"/>
          </ac:spMkLst>
        </pc:spChg>
        <pc:spChg chg="add mod">
          <ac:chgData name="Kadian Bogle" userId="76cab89d-9b55-45a8-91e0-56ac793fecde" providerId="ADAL" clId="{E8FF9108-E8FE-4427-BBEA-BE363B5FB795}" dt="2024-03-01T23:24:36.861" v="1977" actId="14100"/>
          <ac:spMkLst>
            <pc:docMk/>
            <pc:sldMk cId="906068552" sldId="2147470430"/>
            <ac:spMk id="30" creationId="{7468AE6A-57D3-0072-697F-B2E8A40E8F8D}"/>
          </ac:spMkLst>
        </pc:spChg>
        <pc:spChg chg="add mod">
          <ac:chgData name="Kadian Bogle" userId="76cab89d-9b55-45a8-91e0-56ac793fecde" providerId="ADAL" clId="{E8FF9108-E8FE-4427-BBEA-BE363B5FB795}" dt="2024-03-01T23:24:40.432" v="1978" actId="14100"/>
          <ac:spMkLst>
            <pc:docMk/>
            <pc:sldMk cId="906068552" sldId="2147470430"/>
            <ac:spMk id="31" creationId="{55DAA59A-E120-1AAD-F948-39D2060B333A}"/>
          </ac:spMkLst>
        </pc:spChg>
        <pc:spChg chg="add mod">
          <ac:chgData name="Kadian Bogle" userId="76cab89d-9b55-45a8-91e0-56ac793fecde" providerId="ADAL" clId="{E8FF9108-E8FE-4427-BBEA-BE363B5FB795}" dt="2024-03-01T23:25:46.625" v="1987" actId="403"/>
          <ac:spMkLst>
            <pc:docMk/>
            <pc:sldMk cId="906068552" sldId="2147470430"/>
            <ac:spMk id="32" creationId="{281DBAC0-B365-8025-D9BA-3DB03996C986}"/>
          </ac:spMkLst>
        </pc:spChg>
        <pc:spChg chg="add mod">
          <ac:chgData name="Kadian Bogle" userId="76cab89d-9b55-45a8-91e0-56ac793fecde" providerId="ADAL" clId="{E8FF9108-E8FE-4427-BBEA-BE363B5FB795}" dt="2024-03-01T23:24:48.562" v="1979" actId="14100"/>
          <ac:spMkLst>
            <pc:docMk/>
            <pc:sldMk cId="906068552" sldId="2147470430"/>
            <ac:spMk id="33" creationId="{E5366127-A05E-C5E8-52C8-CFC966B8C27B}"/>
          </ac:spMkLst>
        </pc:spChg>
        <pc:spChg chg="add mod">
          <ac:chgData name="Kadian Bogle" userId="76cab89d-9b55-45a8-91e0-56ac793fecde" providerId="ADAL" clId="{E8FF9108-E8FE-4427-BBEA-BE363B5FB795}" dt="2024-03-01T23:26:12.960" v="1988" actId="403"/>
          <ac:spMkLst>
            <pc:docMk/>
            <pc:sldMk cId="906068552" sldId="2147470430"/>
            <ac:spMk id="34" creationId="{91C9687F-9E8B-B430-7D68-E67A43720E35}"/>
          </ac:spMkLst>
        </pc:spChg>
        <pc:spChg chg="add mod">
          <ac:chgData name="Kadian Bogle" userId="76cab89d-9b55-45a8-91e0-56ac793fecde" providerId="ADAL" clId="{E8FF9108-E8FE-4427-BBEA-BE363B5FB795}" dt="2024-03-01T23:24:52.591" v="1980" actId="14100"/>
          <ac:spMkLst>
            <pc:docMk/>
            <pc:sldMk cId="906068552" sldId="2147470430"/>
            <ac:spMk id="35" creationId="{7C26E182-F6DA-5AD1-8E7F-D4C9B5EF1FD3}"/>
          </ac:spMkLst>
        </pc:spChg>
        <pc:spChg chg="add mod">
          <ac:chgData name="Kadian Bogle" userId="76cab89d-9b55-45a8-91e0-56ac793fecde" providerId="ADAL" clId="{E8FF9108-E8FE-4427-BBEA-BE363B5FB795}" dt="2024-03-01T23:27:58.326" v="1993" actId="403"/>
          <ac:spMkLst>
            <pc:docMk/>
            <pc:sldMk cId="906068552" sldId="2147470430"/>
            <ac:spMk id="36" creationId="{AC6840DC-A809-2336-BE0E-A6524BB9ED63}"/>
          </ac:spMkLst>
        </pc:spChg>
        <pc:spChg chg="add mod">
          <ac:chgData name="Kadian Bogle" userId="76cab89d-9b55-45a8-91e0-56ac793fecde" providerId="ADAL" clId="{E8FF9108-E8FE-4427-BBEA-BE363B5FB795}" dt="2024-03-01T23:25:09.938" v="1982" actId="14100"/>
          <ac:spMkLst>
            <pc:docMk/>
            <pc:sldMk cId="906068552" sldId="2147470430"/>
            <ac:spMk id="37" creationId="{ACF439DF-C521-A99C-63DD-2286CF9BD950}"/>
          </ac:spMkLst>
        </pc:spChg>
        <pc:spChg chg="add mod">
          <ac:chgData name="Kadian Bogle" userId="76cab89d-9b55-45a8-91e0-56ac793fecde" providerId="ADAL" clId="{E8FF9108-E8FE-4427-BBEA-BE363B5FB795}" dt="2024-03-01T23:28:06.653" v="1994" actId="403"/>
          <ac:spMkLst>
            <pc:docMk/>
            <pc:sldMk cId="906068552" sldId="2147470430"/>
            <ac:spMk id="38" creationId="{19D88546-3E89-F295-13D8-239B1042D9E1}"/>
          </ac:spMkLst>
        </pc:spChg>
        <pc:spChg chg="add del mod">
          <ac:chgData name="Kadian Bogle" userId="76cab89d-9b55-45a8-91e0-56ac793fecde" providerId="ADAL" clId="{E8FF9108-E8FE-4427-BBEA-BE363B5FB795}" dt="2024-03-01T23:25:17.059" v="1983" actId="14100"/>
          <ac:spMkLst>
            <pc:docMk/>
            <pc:sldMk cId="906068552" sldId="2147470430"/>
            <ac:spMk id="39" creationId="{44EAED39-811E-6C14-ED52-708F84C6EF1A}"/>
          </ac:spMkLst>
        </pc:spChg>
        <pc:spChg chg="add mod">
          <ac:chgData name="Kadian Bogle" userId="76cab89d-9b55-45a8-91e0-56ac793fecde" providerId="ADAL" clId="{E8FF9108-E8FE-4427-BBEA-BE363B5FB795}" dt="2024-03-01T23:28:11.174" v="1995" actId="403"/>
          <ac:spMkLst>
            <pc:docMk/>
            <pc:sldMk cId="906068552" sldId="2147470430"/>
            <ac:spMk id="40" creationId="{54FC80EE-7657-4BEF-A822-BB7656BD839D}"/>
          </ac:spMkLst>
        </pc:spChg>
        <pc:spChg chg="add mod">
          <ac:chgData name="Kadian Bogle" userId="76cab89d-9b55-45a8-91e0-56ac793fecde" providerId="ADAL" clId="{E8FF9108-E8FE-4427-BBEA-BE363B5FB795}" dt="2024-03-01T23:25:21.588" v="1984" actId="14100"/>
          <ac:spMkLst>
            <pc:docMk/>
            <pc:sldMk cId="906068552" sldId="2147470430"/>
            <ac:spMk id="41" creationId="{E1C86B4E-E469-47A0-18D7-AA47C4B28BBF}"/>
          </ac:spMkLst>
        </pc:spChg>
        <pc:graphicFrameChg chg="add del modGraphic">
          <ac:chgData name="Kadian Bogle" userId="76cab89d-9b55-45a8-91e0-56ac793fecde" providerId="ADAL" clId="{E8FF9108-E8FE-4427-BBEA-BE363B5FB795}" dt="2024-03-01T22:17:32.029" v="1013" actId="1032"/>
          <ac:graphicFrameMkLst>
            <pc:docMk/>
            <pc:sldMk cId="906068552" sldId="2147470430"/>
            <ac:graphicFrameMk id="7" creationId="{BC8BACF1-5E73-6970-4E95-2CC9BA66CB28}"/>
          </ac:graphicFrameMkLst>
        </pc:graphicFrameChg>
        <pc:graphicFrameChg chg="add del mod modGraphic">
          <ac:chgData name="Kadian Bogle" userId="76cab89d-9b55-45a8-91e0-56ac793fecde" providerId="ADAL" clId="{E8FF9108-E8FE-4427-BBEA-BE363B5FB795}" dt="2024-03-01T23:24:03.215" v="1974" actId="478"/>
          <ac:graphicFrameMkLst>
            <pc:docMk/>
            <pc:sldMk cId="906068552" sldId="2147470430"/>
            <ac:graphicFrameMk id="10" creationId="{F3549B90-4954-7348-0615-E7DD6ED2533E}"/>
          </ac:graphicFrameMkLst>
        </pc:graphicFrameChg>
        <pc:cxnChg chg="add del mod">
          <ac:chgData name="Kadian Bogle" userId="76cab89d-9b55-45a8-91e0-56ac793fecde" providerId="ADAL" clId="{E8FF9108-E8FE-4427-BBEA-BE363B5FB795}" dt="2024-03-01T23:12:28.978" v="1855" actId="478"/>
          <ac:cxnSpMkLst>
            <pc:docMk/>
            <pc:sldMk cId="906068552" sldId="2147470430"/>
            <ac:cxnSpMk id="15" creationId="{0914BE7F-F4AA-A53B-843A-C51570D8E359}"/>
          </ac:cxnSpMkLst>
        </pc:cxnChg>
      </pc:sldChg>
      <pc:sldChg chg="add del">
        <pc:chgData name="Kadian Bogle" userId="76cab89d-9b55-45a8-91e0-56ac793fecde" providerId="ADAL" clId="{E8FF9108-E8FE-4427-BBEA-BE363B5FB795}" dt="2024-03-01T21:42:29.420" v="552"/>
        <pc:sldMkLst>
          <pc:docMk/>
          <pc:sldMk cId="2162847397" sldId="2147470430"/>
        </pc:sldMkLst>
      </pc:sldChg>
      <pc:sldChg chg="addSp modSp add del mod">
        <pc:chgData name="Kadian Bogle" userId="76cab89d-9b55-45a8-91e0-56ac793fecde" providerId="ADAL" clId="{E8FF9108-E8FE-4427-BBEA-BE363B5FB795}" dt="2024-03-01T22:48:05.450" v="1608" actId="47"/>
        <pc:sldMkLst>
          <pc:docMk/>
          <pc:sldMk cId="1297845188" sldId="2147470431"/>
        </pc:sldMkLst>
        <pc:spChg chg="add mod">
          <ac:chgData name="Kadian Bogle" userId="76cab89d-9b55-45a8-91e0-56ac793fecde" providerId="ADAL" clId="{E8FF9108-E8FE-4427-BBEA-BE363B5FB795}" dt="2024-03-01T22:44:57.457" v="1591" actId="1076"/>
          <ac:spMkLst>
            <pc:docMk/>
            <pc:sldMk cId="1297845188" sldId="2147470431"/>
            <ac:spMk id="7" creationId="{3E3E8216-F1ED-4711-1C7A-F7041D0F90B9}"/>
          </ac:spMkLst>
        </pc:spChg>
        <pc:spChg chg="mod">
          <ac:chgData name="Kadian Bogle" userId="76cab89d-9b55-45a8-91e0-56ac793fecde" providerId="ADAL" clId="{E8FF9108-E8FE-4427-BBEA-BE363B5FB795}" dt="2024-03-01T22:45:16.576" v="1607" actId="20577"/>
          <ac:spMkLst>
            <pc:docMk/>
            <pc:sldMk cId="1297845188" sldId="2147470431"/>
            <ac:spMk id="126" creationId="{48C7DBDC-26E5-46A8-BAE8-A6DC63674EE6}"/>
          </ac:spMkLst>
        </pc:spChg>
      </pc:sldChg>
      <pc:sldChg chg="delSp modSp add del mod">
        <pc:chgData name="Kadian Bogle" userId="76cab89d-9b55-45a8-91e0-56ac793fecde" providerId="ADAL" clId="{E8FF9108-E8FE-4427-BBEA-BE363B5FB795}" dt="2024-03-01T23:24:16.620" v="1975" actId="47"/>
        <pc:sldMkLst>
          <pc:docMk/>
          <pc:sldMk cId="2263110305" sldId="2147470431"/>
        </pc:sldMkLst>
        <pc:spChg chg="del">
          <ac:chgData name="Kadian Bogle" userId="76cab89d-9b55-45a8-91e0-56ac793fecde" providerId="ADAL" clId="{E8FF9108-E8FE-4427-BBEA-BE363B5FB795}" dt="2024-03-01T23:22:16.453" v="1953" actId="478"/>
          <ac:spMkLst>
            <pc:docMk/>
            <pc:sldMk cId="2263110305" sldId="2147470431"/>
            <ac:spMk id="20" creationId="{678CA67C-4C2F-4C68-B656-505178ABAE27}"/>
          </ac:spMkLst>
        </pc:spChg>
        <pc:spChg chg="del mod">
          <ac:chgData name="Kadian Bogle" userId="76cab89d-9b55-45a8-91e0-56ac793fecde" providerId="ADAL" clId="{E8FF9108-E8FE-4427-BBEA-BE363B5FB795}" dt="2024-03-01T23:22:13.954" v="1952" actId="478"/>
          <ac:spMkLst>
            <pc:docMk/>
            <pc:sldMk cId="2263110305" sldId="2147470431"/>
            <ac:spMk id="21" creationId="{7EC210F8-E0A0-54F8-F882-85A822FDC3CA}"/>
          </ac:spMkLst>
        </pc:spChg>
        <pc:spChg chg="del mod">
          <ac:chgData name="Kadian Bogle" userId="76cab89d-9b55-45a8-91e0-56ac793fecde" providerId="ADAL" clId="{E8FF9108-E8FE-4427-BBEA-BE363B5FB795}" dt="2024-03-01T23:22:37.214" v="1958" actId="478"/>
          <ac:spMkLst>
            <pc:docMk/>
            <pc:sldMk cId="2263110305" sldId="2147470431"/>
            <ac:spMk id="24" creationId="{780EC602-A510-4958-0037-CDCC3296643A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25" creationId="{1BB29C7D-FFD2-8D8C-3C6D-18B65F1688D4}"/>
          </ac:spMkLst>
        </pc:spChg>
        <pc:spChg chg="del">
          <ac:chgData name="Kadian Bogle" userId="76cab89d-9b55-45a8-91e0-56ac793fecde" providerId="ADAL" clId="{E8FF9108-E8FE-4427-BBEA-BE363B5FB795}" dt="2024-03-01T23:22:53.851" v="1963" actId="478"/>
          <ac:spMkLst>
            <pc:docMk/>
            <pc:sldMk cId="2263110305" sldId="2147470431"/>
            <ac:spMk id="29" creationId="{55CFD0AE-5610-2C95-4600-1D07D107E83F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0" creationId="{7468AE6A-57D3-0072-697F-B2E8A40E8F8D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1" creationId="{55DAA59A-E120-1AAD-F948-39D2060B333A}"/>
          </ac:spMkLst>
        </pc:spChg>
        <pc:spChg chg="del mod">
          <ac:chgData name="Kadian Bogle" userId="76cab89d-9b55-45a8-91e0-56ac793fecde" providerId="ADAL" clId="{E8FF9108-E8FE-4427-BBEA-BE363B5FB795}" dt="2024-03-01T23:22:32.883" v="1957" actId="478"/>
          <ac:spMkLst>
            <pc:docMk/>
            <pc:sldMk cId="2263110305" sldId="2147470431"/>
            <ac:spMk id="32" creationId="{281DBAC0-B365-8025-D9BA-3DB03996C986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3" creationId="{E5366127-A05E-C5E8-52C8-CFC966B8C27B}"/>
          </ac:spMkLst>
        </pc:spChg>
        <pc:spChg chg="del">
          <ac:chgData name="Kadian Bogle" userId="76cab89d-9b55-45a8-91e0-56ac793fecde" providerId="ADAL" clId="{E8FF9108-E8FE-4427-BBEA-BE363B5FB795}" dt="2024-03-01T23:22:48.678" v="1961" actId="478"/>
          <ac:spMkLst>
            <pc:docMk/>
            <pc:sldMk cId="2263110305" sldId="2147470431"/>
            <ac:spMk id="34" creationId="{91C9687F-9E8B-B430-7D68-E67A43720E35}"/>
          </ac:spMkLst>
        </pc:spChg>
        <pc:spChg chg="del">
          <ac:chgData name="Kadian Bogle" userId="76cab89d-9b55-45a8-91e0-56ac793fecde" providerId="ADAL" clId="{E8FF9108-E8FE-4427-BBEA-BE363B5FB795}" dt="2024-03-01T23:22:50.816" v="1962" actId="478"/>
          <ac:spMkLst>
            <pc:docMk/>
            <pc:sldMk cId="2263110305" sldId="2147470431"/>
            <ac:spMk id="35" creationId="{7C26E182-F6DA-5AD1-8E7F-D4C9B5EF1FD3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6" creationId="{AC6840DC-A809-2336-BE0E-A6524BB9ED63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7" creationId="{ACF439DF-C521-A99C-63DD-2286CF9BD950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8" creationId="{19D88546-3E89-F295-13D8-239B1042D9E1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39" creationId="{44EAED39-811E-6C14-ED52-708F84C6EF1A}"/>
          </ac:spMkLst>
        </pc:spChg>
        <pc:spChg chg="del">
          <ac:chgData name="Kadian Bogle" userId="76cab89d-9b55-45a8-91e0-56ac793fecde" providerId="ADAL" clId="{E8FF9108-E8FE-4427-BBEA-BE363B5FB795}" dt="2024-03-01T23:22:39.926" v="1959" actId="478"/>
          <ac:spMkLst>
            <pc:docMk/>
            <pc:sldMk cId="2263110305" sldId="2147470431"/>
            <ac:spMk id="40" creationId="{54FC80EE-7657-4BEF-A822-BB7656BD839D}"/>
          </ac:spMkLst>
        </pc:spChg>
        <pc:spChg chg="del">
          <ac:chgData name="Kadian Bogle" userId="76cab89d-9b55-45a8-91e0-56ac793fecde" providerId="ADAL" clId="{E8FF9108-E8FE-4427-BBEA-BE363B5FB795}" dt="2024-03-01T23:22:19.048" v="1954" actId="478"/>
          <ac:spMkLst>
            <pc:docMk/>
            <pc:sldMk cId="2263110305" sldId="2147470431"/>
            <ac:spMk id="41" creationId="{E1C86B4E-E469-47A0-18D7-AA47C4B28BBF}"/>
          </ac:spMkLst>
        </pc:spChg>
        <pc:graphicFrameChg chg="mod">
          <ac:chgData name="Kadian Bogle" userId="76cab89d-9b55-45a8-91e0-56ac793fecde" providerId="ADAL" clId="{E8FF9108-E8FE-4427-BBEA-BE363B5FB795}" dt="2024-03-01T23:23:49.199" v="1972"/>
          <ac:graphicFrameMkLst>
            <pc:docMk/>
            <pc:sldMk cId="2263110305" sldId="2147470431"/>
            <ac:graphicFrameMk id="10" creationId="{F3549B90-4954-7348-0615-E7DD6ED2533E}"/>
          </ac:graphicFrameMkLst>
        </pc:graphicFrameChg>
      </pc:sldChg>
    </pc:docChg>
  </pc:docChgLst>
  <pc:docChgLst>
    <pc:chgData name="Nathalia Teofilo" userId="S::pe281@deutsche-boerse.com::a133e4ba-ab9f-49ee-af0a-93e33fb61143" providerId="AD" clId="Web-{F1937059-004C-6C76-D6D7-6DF3CB18E2F8}"/>
    <pc:docChg chg="addSld">
      <pc:chgData name="Nathalia Teofilo" userId="S::pe281@deutsche-boerse.com::a133e4ba-ab9f-49ee-af0a-93e33fb61143" providerId="AD" clId="Web-{F1937059-004C-6C76-D6D7-6DF3CB18E2F8}" dt="2024-03-01T20:26:42.932" v="1"/>
      <pc:docMkLst>
        <pc:docMk/>
      </pc:docMkLst>
      <pc:sldChg chg="add">
        <pc:chgData name="Nathalia Teofilo" userId="S::pe281@deutsche-boerse.com::a133e4ba-ab9f-49ee-af0a-93e33fb61143" providerId="AD" clId="Web-{F1937059-004C-6C76-D6D7-6DF3CB18E2F8}" dt="2024-03-01T19:33:33.490" v="0"/>
        <pc:sldMkLst>
          <pc:docMk/>
          <pc:sldMk cId="2360328382" sldId="4056"/>
        </pc:sldMkLst>
      </pc:sldChg>
      <pc:sldChg chg="add">
        <pc:chgData name="Nathalia Teofilo" userId="S::pe281@deutsche-boerse.com::a133e4ba-ab9f-49ee-af0a-93e33fb61143" providerId="AD" clId="Web-{F1937059-004C-6C76-D6D7-6DF3CB18E2F8}" dt="2024-03-01T20:26:42.932" v="1"/>
        <pc:sldMkLst>
          <pc:docMk/>
          <pc:sldMk cId="2149395297" sldId="2147470423"/>
        </pc:sldMkLst>
      </pc:sldChg>
      <pc:sldMasterChg chg="addSldLayout">
        <pc:chgData name="Nathalia Teofilo" userId="S::pe281@deutsche-boerse.com::a133e4ba-ab9f-49ee-af0a-93e33fb61143" providerId="AD" clId="Web-{F1937059-004C-6C76-D6D7-6DF3CB18E2F8}" dt="2024-03-01T20:26:42.932" v="1"/>
        <pc:sldMasterMkLst>
          <pc:docMk/>
          <pc:sldMasterMk cId="3484703908" sldId="2147483735"/>
        </pc:sldMasterMkLst>
        <pc:sldLayoutChg chg="add">
          <pc:chgData name="Nathalia Teofilo" userId="S::pe281@deutsche-boerse.com::a133e4ba-ab9f-49ee-af0a-93e33fb61143" providerId="AD" clId="Web-{F1937059-004C-6C76-D6D7-6DF3CB18E2F8}" dt="2024-03-01T20:26:42.932" v="1"/>
          <pc:sldLayoutMkLst>
            <pc:docMk/>
            <pc:sldMasterMk cId="3484703908" sldId="2147483735"/>
            <pc:sldLayoutMk cId="81666258" sldId="2147483825"/>
          </pc:sldLayoutMkLst>
        </pc:sldLayoutChg>
      </pc:sldMasterChg>
    </pc:docChg>
  </pc:docChgLst>
  <pc:docChgLst>
    <pc:chgData name="Kadian Bogle" userId="76cab89d-9b55-45a8-91e0-56ac793fecde" providerId="ADAL" clId="{77096050-E034-4541-A29C-20CE16E31091}"/>
    <pc:docChg chg="undo redo custSel modSld">
      <pc:chgData name="Kadian Bogle" userId="76cab89d-9b55-45a8-91e0-56ac793fecde" providerId="ADAL" clId="{77096050-E034-4541-A29C-20CE16E31091}" dt="2024-03-04T21:45:15.644" v="121" actId="403"/>
      <pc:docMkLst>
        <pc:docMk/>
      </pc:docMkLst>
      <pc:sldChg chg="addSp modSp mod">
        <pc:chgData name="Kadian Bogle" userId="76cab89d-9b55-45a8-91e0-56ac793fecde" providerId="ADAL" clId="{77096050-E034-4541-A29C-20CE16E31091}" dt="2024-03-04T21:28:23.894" v="4" actId="208"/>
        <pc:sldMkLst>
          <pc:docMk/>
          <pc:sldMk cId="1120281149" sldId="265"/>
        </pc:sldMkLst>
        <pc:spChg chg="add mod">
          <ac:chgData name="Kadian Bogle" userId="76cab89d-9b55-45a8-91e0-56ac793fecde" providerId="ADAL" clId="{77096050-E034-4541-A29C-20CE16E31091}" dt="2024-03-04T21:28:23.894" v="4" actId="208"/>
          <ac:spMkLst>
            <pc:docMk/>
            <pc:sldMk cId="1120281149" sldId="265"/>
            <ac:spMk id="2" creationId="{6606C943-81C6-2D78-45A6-B2CE1C20813A}"/>
          </ac:spMkLst>
        </pc:spChg>
        <pc:spChg chg="mod">
          <ac:chgData name="Kadian Bogle" userId="76cab89d-9b55-45a8-91e0-56ac793fecde" providerId="ADAL" clId="{77096050-E034-4541-A29C-20CE16E31091}" dt="2024-03-04T21:27:59.220" v="1" actId="1076"/>
          <ac:spMkLst>
            <pc:docMk/>
            <pc:sldMk cId="1120281149" sldId="265"/>
            <ac:spMk id="8" creationId="{E02BBA1D-41FA-6ECA-FB78-7C39D15A8E0F}"/>
          </ac:spMkLst>
        </pc:spChg>
      </pc:sldChg>
      <pc:sldChg chg="addSp modSp">
        <pc:chgData name="Kadian Bogle" userId="76cab89d-9b55-45a8-91e0-56ac793fecde" providerId="ADAL" clId="{77096050-E034-4541-A29C-20CE16E31091}" dt="2024-03-04T21:28:43.928" v="7"/>
        <pc:sldMkLst>
          <pc:docMk/>
          <pc:sldMk cId="2515545968" sldId="4051"/>
        </pc:sldMkLst>
        <pc:spChg chg="add mod">
          <ac:chgData name="Kadian Bogle" userId="76cab89d-9b55-45a8-91e0-56ac793fecde" providerId="ADAL" clId="{77096050-E034-4541-A29C-20CE16E31091}" dt="2024-03-04T21:28:43.928" v="7"/>
          <ac:spMkLst>
            <pc:docMk/>
            <pc:sldMk cId="2515545968" sldId="4051"/>
            <ac:spMk id="3" creationId="{3946956E-FE22-6721-843D-A10C1EA4CC15}"/>
          </ac:spMkLst>
        </pc:spChg>
      </pc:sldChg>
      <pc:sldChg chg="addSp modSp">
        <pc:chgData name="Kadian Bogle" userId="76cab89d-9b55-45a8-91e0-56ac793fecde" providerId="ADAL" clId="{77096050-E034-4541-A29C-20CE16E31091}" dt="2024-03-04T21:28:39.785" v="6"/>
        <pc:sldMkLst>
          <pc:docMk/>
          <pc:sldMk cId="1324684131" sldId="4055"/>
        </pc:sldMkLst>
        <pc:spChg chg="add mod">
          <ac:chgData name="Kadian Bogle" userId="76cab89d-9b55-45a8-91e0-56ac793fecde" providerId="ADAL" clId="{77096050-E034-4541-A29C-20CE16E31091}" dt="2024-03-04T21:28:39.785" v="6"/>
          <ac:spMkLst>
            <pc:docMk/>
            <pc:sldMk cId="1324684131" sldId="4055"/>
            <ac:spMk id="3" creationId="{D0110998-6CBD-EDF0-786D-94F7E1FDF909}"/>
          </ac:spMkLst>
        </pc:spChg>
      </pc:sldChg>
      <pc:sldChg chg="addSp modSp">
        <pc:chgData name="Kadian Bogle" userId="76cab89d-9b55-45a8-91e0-56ac793fecde" providerId="ADAL" clId="{77096050-E034-4541-A29C-20CE16E31091}" dt="2024-03-04T21:28:53.067" v="9"/>
        <pc:sldMkLst>
          <pc:docMk/>
          <pc:sldMk cId="985166175" sldId="2147470428"/>
        </pc:sldMkLst>
        <pc:spChg chg="add mod">
          <ac:chgData name="Kadian Bogle" userId="76cab89d-9b55-45a8-91e0-56ac793fecde" providerId="ADAL" clId="{77096050-E034-4541-A29C-20CE16E31091}" dt="2024-03-04T21:28:53.067" v="9"/>
          <ac:spMkLst>
            <pc:docMk/>
            <pc:sldMk cId="985166175" sldId="2147470428"/>
            <ac:spMk id="2" creationId="{A5236219-9BB7-36A4-40BF-CA4EB4E1C415}"/>
          </ac:spMkLst>
        </pc:spChg>
      </pc:sldChg>
      <pc:sldChg chg="addSp modSp">
        <pc:chgData name="Kadian Bogle" userId="76cab89d-9b55-45a8-91e0-56ac793fecde" providerId="ADAL" clId="{77096050-E034-4541-A29C-20CE16E31091}" dt="2024-03-04T21:28:35.782" v="5"/>
        <pc:sldMkLst>
          <pc:docMk/>
          <pc:sldMk cId="1815646555" sldId="2147470429"/>
        </pc:sldMkLst>
        <pc:spChg chg="add mod">
          <ac:chgData name="Kadian Bogle" userId="76cab89d-9b55-45a8-91e0-56ac793fecde" providerId="ADAL" clId="{77096050-E034-4541-A29C-20CE16E31091}" dt="2024-03-04T21:28:35.782" v="5"/>
          <ac:spMkLst>
            <pc:docMk/>
            <pc:sldMk cId="1815646555" sldId="2147470429"/>
            <ac:spMk id="3" creationId="{12337CFA-9FF8-8A96-F93A-C6650B0D9DF3}"/>
          </ac:spMkLst>
        </pc:spChg>
      </pc:sldChg>
      <pc:sldChg chg="addSp delSp modSp mod">
        <pc:chgData name="Kadian Bogle" userId="76cab89d-9b55-45a8-91e0-56ac793fecde" providerId="ADAL" clId="{77096050-E034-4541-A29C-20CE16E31091}" dt="2024-03-04T21:45:15.644" v="121" actId="403"/>
        <pc:sldMkLst>
          <pc:docMk/>
          <pc:sldMk cId="906068552" sldId="2147470430"/>
        </pc:sldMkLst>
        <pc:spChg chg="add mod">
          <ac:chgData name="Kadian Bogle" userId="76cab89d-9b55-45a8-91e0-56ac793fecde" providerId="ADAL" clId="{77096050-E034-4541-A29C-20CE16E31091}" dt="2024-03-04T21:28:48.319" v="8"/>
          <ac:spMkLst>
            <pc:docMk/>
            <pc:sldMk cId="906068552" sldId="2147470430"/>
            <ac:spMk id="3" creationId="{9CBC71AB-6581-0DD2-18D6-BD3652A1929C}"/>
          </ac:spMkLst>
        </pc:spChg>
        <pc:spChg chg="add mod">
          <ac:chgData name="Kadian Bogle" userId="76cab89d-9b55-45a8-91e0-56ac793fecde" providerId="ADAL" clId="{77096050-E034-4541-A29C-20CE16E31091}" dt="2024-03-04T21:44:06.383" v="111" actId="2711"/>
          <ac:spMkLst>
            <pc:docMk/>
            <pc:sldMk cId="906068552" sldId="2147470430"/>
            <ac:spMk id="4" creationId="{6CDE0864-E124-266F-2B59-835FEF97A380}"/>
          </ac:spMkLst>
        </pc:spChg>
        <pc:spChg chg="add mod">
          <ac:chgData name="Kadian Bogle" userId="76cab89d-9b55-45a8-91e0-56ac793fecde" providerId="ADAL" clId="{77096050-E034-4541-A29C-20CE16E31091}" dt="2024-03-04T21:44:17.413" v="114" actId="2711"/>
          <ac:spMkLst>
            <pc:docMk/>
            <pc:sldMk cId="906068552" sldId="2147470430"/>
            <ac:spMk id="7" creationId="{50671D06-C24D-3FF5-CF25-1CC9DAA16209}"/>
          </ac:spMkLst>
        </pc:spChg>
        <pc:spChg chg="add mod">
          <ac:chgData name="Kadian Bogle" userId="76cab89d-9b55-45a8-91e0-56ac793fecde" providerId="ADAL" clId="{77096050-E034-4541-A29C-20CE16E31091}" dt="2024-03-04T21:44:25.037" v="115" actId="2711"/>
          <ac:spMkLst>
            <pc:docMk/>
            <pc:sldMk cId="906068552" sldId="2147470430"/>
            <ac:spMk id="9" creationId="{D8949FF0-8DD3-816B-DD78-8CAE3E5C926B}"/>
          </ac:spMkLst>
        </pc:spChg>
        <pc:spChg chg="add del mod">
          <ac:chgData name="Kadian Bogle" userId="76cab89d-9b55-45a8-91e0-56ac793fecde" providerId="ADAL" clId="{77096050-E034-4541-A29C-20CE16E31091}" dt="2024-03-04T21:39:32.412" v="78" actId="478"/>
          <ac:spMkLst>
            <pc:docMk/>
            <pc:sldMk cId="906068552" sldId="2147470430"/>
            <ac:spMk id="10" creationId="{2D09E82E-F4CB-0E11-043C-6AA16ABE28D6}"/>
          </ac:spMkLst>
        </pc:spChg>
        <pc:spChg chg="add del mod">
          <ac:chgData name="Kadian Bogle" userId="76cab89d-9b55-45a8-91e0-56ac793fecde" providerId="ADAL" clId="{77096050-E034-4541-A29C-20CE16E31091}" dt="2024-03-04T21:38:09.059" v="63"/>
          <ac:spMkLst>
            <pc:docMk/>
            <pc:sldMk cId="906068552" sldId="2147470430"/>
            <ac:spMk id="11" creationId="{CB9CED77-FB4C-6167-34C8-8CE97E563E75}"/>
          </ac:spMkLst>
        </pc:spChg>
        <pc:spChg chg="add mod">
          <ac:chgData name="Kadian Bogle" userId="76cab89d-9b55-45a8-91e0-56ac793fecde" providerId="ADAL" clId="{77096050-E034-4541-A29C-20CE16E31091}" dt="2024-03-04T21:44:39.694" v="116" actId="2711"/>
          <ac:spMkLst>
            <pc:docMk/>
            <pc:sldMk cId="906068552" sldId="2147470430"/>
            <ac:spMk id="12" creationId="{C549C41B-F169-3551-87EC-0B19DB0B9D8E}"/>
          </ac:spMkLst>
        </pc:spChg>
        <pc:spChg chg="add mod">
          <ac:chgData name="Kadian Bogle" userId="76cab89d-9b55-45a8-91e0-56ac793fecde" providerId="ADAL" clId="{77096050-E034-4541-A29C-20CE16E31091}" dt="2024-03-04T21:44:45.676" v="117" actId="2711"/>
          <ac:spMkLst>
            <pc:docMk/>
            <pc:sldMk cId="906068552" sldId="2147470430"/>
            <ac:spMk id="13" creationId="{32795562-9597-C904-AC4F-98F64EDB8170}"/>
          </ac:spMkLst>
        </pc:spChg>
        <pc:spChg chg="add mod">
          <ac:chgData name="Kadian Bogle" userId="76cab89d-9b55-45a8-91e0-56ac793fecde" providerId="ADAL" clId="{77096050-E034-4541-A29C-20CE16E31091}" dt="2024-03-04T21:44:55.661" v="119" actId="403"/>
          <ac:spMkLst>
            <pc:docMk/>
            <pc:sldMk cId="906068552" sldId="2147470430"/>
            <ac:spMk id="14" creationId="{E2974C5C-0723-80EB-3B0E-6FC035A84F80}"/>
          </ac:spMkLst>
        </pc:spChg>
        <pc:spChg chg="add mod">
          <ac:chgData name="Kadian Bogle" userId="76cab89d-9b55-45a8-91e0-56ac793fecde" providerId="ADAL" clId="{77096050-E034-4541-A29C-20CE16E31091}" dt="2024-03-04T21:45:15.644" v="121" actId="403"/>
          <ac:spMkLst>
            <pc:docMk/>
            <pc:sldMk cId="906068552" sldId="2147470430"/>
            <ac:spMk id="15" creationId="{5627BAF6-22BB-C4A5-90B9-130F51724B08}"/>
          </ac:spMkLst>
        </pc:spChg>
        <pc:spChg chg="mod">
          <ac:chgData name="Kadian Bogle" userId="76cab89d-9b55-45a8-91e0-56ac793fecde" providerId="ADAL" clId="{77096050-E034-4541-A29C-20CE16E31091}" dt="2024-03-04T21:43:15.745" v="103" actId="2711"/>
          <ac:spMkLst>
            <pc:docMk/>
            <pc:sldMk cId="906068552" sldId="2147470430"/>
            <ac:spMk id="21" creationId="{7EC210F8-E0A0-54F8-F882-85A822FDC3CA}"/>
          </ac:spMkLst>
        </pc:spChg>
        <pc:spChg chg="del mod">
          <ac:chgData name="Kadian Bogle" userId="76cab89d-9b55-45a8-91e0-56ac793fecde" providerId="ADAL" clId="{77096050-E034-4541-A29C-20CE16E31091}" dt="2024-03-04T21:34:35.290" v="35" actId="478"/>
          <ac:spMkLst>
            <pc:docMk/>
            <pc:sldMk cId="906068552" sldId="2147470430"/>
            <ac:spMk id="24" creationId="{780EC602-A510-4958-0037-CDCC3296643A}"/>
          </ac:spMkLst>
        </pc:spChg>
        <pc:spChg chg="del mod">
          <ac:chgData name="Kadian Bogle" userId="76cab89d-9b55-45a8-91e0-56ac793fecde" providerId="ADAL" clId="{77096050-E034-4541-A29C-20CE16E31091}" dt="2024-03-04T21:33:22.664" v="19" actId="478"/>
          <ac:spMkLst>
            <pc:docMk/>
            <pc:sldMk cId="906068552" sldId="2147470430"/>
            <ac:spMk id="29" creationId="{55CFD0AE-5610-2C95-4600-1D07D107E83F}"/>
          </ac:spMkLst>
        </pc:spChg>
        <pc:spChg chg="add del mod">
          <ac:chgData name="Kadian Bogle" userId="76cab89d-9b55-45a8-91e0-56ac793fecde" providerId="ADAL" clId="{77096050-E034-4541-A29C-20CE16E31091}" dt="2024-03-04T21:36:01.800" v="46" actId="478"/>
          <ac:spMkLst>
            <pc:docMk/>
            <pc:sldMk cId="906068552" sldId="2147470430"/>
            <ac:spMk id="32" creationId="{281DBAC0-B365-8025-D9BA-3DB03996C986}"/>
          </ac:spMkLst>
        </pc:spChg>
        <pc:spChg chg="del mod">
          <ac:chgData name="Kadian Bogle" userId="76cab89d-9b55-45a8-91e0-56ac793fecde" providerId="ADAL" clId="{77096050-E034-4541-A29C-20CE16E31091}" dt="2024-03-04T21:38:50.888" v="72" actId="478"/>
          <ac:spMkLst>
            <pc:docMk/>
            <pc:sldMk cId="906068552" sldId="2147470430"/>
            <ac:spMk id="34" creationId="{91C9687F-9E8B-B430-7D68-E67A43720E35}"/>
          </ac:spMkLst>
        </pc:spChg>
        <pc:spChg chg="add del mod">
          <ac:chgData name="Kadian Bogle" userId="76cab89d-9b55-45a8-91e0-56ac793fecde" providerId="ADAL" clId="{77096050-E034-4541-A29C-20CE16E31091}" dt="2024-03-04T21:38:16.315" v="66" actId="478"/>
          <ac:spMkLst>
            <pc:docMk/>
            <pc:sldMk cId="906068552" sldId="2147470430"/>
            <ac:spMk id="36" creationId="{AC6840DC-A809-2336-BE0E-A6524BB9ED63}"/>
          </ac:spMkLst>
        </pc:spChg>
        <pc:spChg chg="del mod">
          <ac:chgData name="Kadian Bogle" userId="76cab89d-9b55-45a8-91e0-56ac793fecde" providerId="ADAL" clId="{77096050-E034-4541-A29C-20CE16E31091}" dt="2024-03-04T21:41:49.945" v="93" actId="478"/>
          <ac:spMkLst>
            <pc:docMk/>
            <pc:sldMk cId="906068552" sldId="2147470430"/>
            <ac:spMk id="38" creationId="{19D88546-3E89-F295-13D8-239B1042D9E1}"/>
          </ac:spMkLst>
        </pc:spChg>
        <pc:spChg chg="del mod">
          <ac:chgData name="Kadian Bogle" userId="76cab89d-9b55-45a8-91e0-56ac793fecde" providerId="ADAL" clId="{77096050-E034-4541-A29C-20CE16E31091}" dt="2024-03-04T21:42:29.163" v="100" actId="478"/>
          <ac:spMkLst>
            <pc:docMk/>
            <pc:sldMk cId="906068552" sldId="2147470430"/>
            <ac:spMk id="40" creationId="{54FC80EE-7657-4BEF-A822-BB7656BD839D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F6A692-6EE2-464F-8D7F-83EF3D77CCB0}" type="doc">
      <dgm:prSet loTypeId="urn:microsoft.com/office/officeart/2005/8/layout/cycle5" loCatId="cycle" qsTypeId="urn:microsoft.com/office/officeart/2005/8/quickstyle/simple2" qsCatId="simple" csTypeId="urn:microsoft.com/office/officeart/2005/8/colors/accent1_2" csCatId="accent1" phldr="1"/>
      <dgm:spPr/>
    </dgm:pt>
    <dgm:pt modelId="{5B3A169F-36FB-4E67-B722-845DAAFFA4E1}">
      <dgm:prSet phldrT="[Text]"/>
      <dgm:spPr/>
      <dgm:t>
        <a:bodyPr/>
        <a:lstStyle/>
        <a:p>
          <a:r>
            <a:rPr lang="en-GB" b="1"/>
            <a:t>Risk Mitigation </a:t>
          </a:r>
          <a:endParaRPr lang="en-US" b="1"/>
        </a:p>
      </dgm:t>
    </dgm:pt>
    <dgm:pt modelId="{0997BA0C-0D39-4802-B2D3-E6EF1535DEF7}" type="parTrans" cxnId="{16CB7400-22E6-4BCE-B6B8-6E25A449443A}">
      <dgm:prSet/>
      <dgm:spPr/>
      <dgm:t>
        <a:bodyPr/>
        <a:lstStyle/>
        <a:p>
          <a:endParaRPr lang="en-US"/>
        </a:p>
      </dgm:t>
    </dgm:pt>
    <dgm:pt modelId="{61A87D32-79F6-4BF8-BF8F-8465DE4A0246}" type="sibTrans" cxnId="{16CB7400-22E6-4BCE-B6B8-6E25A449443A}">
      <dgm:prSet/>
      <dgm:spPr/>
      <dgm:t>
        <a:bodyPr/>
        <a:lstStyle/>
        <a:p>
          <a:endParaRPr lang="en-US"/>
        </a:p>
      </dgm:t>
    </dgm:pt>
    <dgm:pt modelId="{7F27D794-5C09-4CB7-9998-9E8FD710D50D}">
      <dgm:prSet phldrT="[Text]"/>
      <dgm:spPr/>
      <dgm:t>
        <a:bodyPr/>
        <a:lstStyle/>
        <a:p>
          <a:r>
            <a:rPr lang="en-US" b="1"/>
            <a:t>Regulatory &amp; Compliance </a:t>
          </a:r>
          <a:endParaRPr lang="en-US"/>
        </a:p>
      </dgm:t>
    </dgm:pt>
    <dgm:pt modelId="{AF4D53C5-0F84-40F9-BAC3-D426901E850C}" type="parTrans" cxnId="{DBFD1E68-CE8E-4F26-B278-2021A469CCE3}">
      <dgm:prSet/>
      <dgm:spPr/>
      <dgm:t>
        <a:bodyPr/>
        <a:lstStyle/>
        <a:p>
          <a:endParaRPr lang="en-US"/>
        </a:p>
      </dgm:t>
    </dgm:pt>
    <dgm:pt modelId="{9C39EE3B-6A20-4B11-871A-2E75119EC941}" type="sibTrans" cxnId="{DBFD1E68-CE8E-4F26-B278-2021A469CCE3}">
      <dgm:prSet/>
      <dgm:spPr/>
      <dgm:t>
        <a:bodyPr/>
        <a:lstStyle/>
        <a:p>
          <a:endParaRPr lang="en-US"/>
        </a:p>
      </dgm:t>
    </dgm:pt>
    <dgm:pt modelId="{3DA05ED0-23F0-4F36-9A1A-1FE98AC6D3A0}">
      <dgm:prSet/>
      <dgm:spPr/>
      <dgm:t>
        <a:bodyPr/>
        <a:lstStyle/>
        <a:p>
          <a:r>
            <a:rPr lang="en-US" b="1"/>
            <a:t>Liquidity Management </a:t>
          </a:r>
        </a:p>
      </dgm:t>
    </dgm:pt>
    <dgm:pt modelId="{B78288CB-E6EB-446C-9BCC-AE0A8ABB4897}" type="parTrans" cxnId="{DE809754-F626-4813-8AA6-4EBB1692A047}">
      <dgm:prSet/>
      <dgm:spPr/>
      <dgm:t>
        <a:bodyPr/>
        <a:lstStyle/>
        <a:p>
          <a:endParaRPr lang="en-US"/>
        </a:p>
      </dgm:t>
    </dgm:pt>
    <dgm:pt modelId="{7E8BED8C-DB5C-4F45-8120-31D3AB0271B4}" type="sibTrans" cxnId="{DE809754-F626-4813-8AA6-4EBB1692A047}">
      <dgm:prSet/>
      <dgm:spPr/>
      <dgm:t>
        <a:bodyPr/>
        <a:lstStyle/>
        <a:p>
          <a:endParaRPr lang="en-US"/>
        </a:p>
      </dgm:t>
    </dgm:pt>
    <dgm:pt modelId="{1E3F1CD6-BBFC-4886-9D99-B1241991542A}">
      <dgm:prSet/>
      <dgm:spPr/>
      <dgm:t>
        <a:bodyPr/>
        <a:lstStyle/>
        <a:p>
          <a:r>
            <a:rPr lang="en-US" b="1"/>
            <a:t>Global Reach </a:t>
          </a:r>
        </a:p>
      </dgm:t>
    </dgm:pt>
    <dgm:pt modelId="{77CEA0D6-1EF0-4D87-8189-E7617931C453}" type="sibTrans" cxnId="{63EBB209-CF95-4315-8A40-5A94C8EC9A6E}">
      <dgm:prSet/>
      <dgm:spPr/>
      <dgm:t>
        <a:bodyPr/>
        <a:lstStyle/>
        <a:p>
          <a:endParaRPr lang="en-US"/>
        </a:p>
      </dgm:t>
    </dgm:pt>
    <dgm:pt modelId="{0A648271-0DA9-48DD-B72E-98855093AF34}" type="parTrans" cxnId="{63EBB209-CF95-4315-8A40-5A94C8EC9A6E}">
      <dgm:prSet/>
      <dgm:spPr/>
      <dgm:t>
        <a:bodyPr/>
        <a:lstStyle/>
        <a:p>
          <a:endParaRPr lang="en-US"/>
        </a:p>
      </dgm:t>
    </dgm:pt>
    <dgm:pt modelId="{1DBC4CB6-D8AF-477B-9EE8-560C5A70E532}">
      <dgm:prSet/>
      <dgm:spPr/>
      <dgm:t>
        <a:bodyPr/>
        <a:lstStyle/>
        <a:p>
          <a:r>
            <a:rPr lang="en-US" b="1"/>
            <a:t>Technological Innovation  </a:t>
          </a:r>
        </a:p>
      </dgm:t>
    </dgm:pt>
    <dgm:pt modelId="{93E47A91-9EF5-4799-A466-AF9B978862ED}" type="parTrans" cxnId="{A189ADC6-4C32-4593-BEB9-AD1A8F1F9B78}">
      <dgm:prSet/>
      <dgm:spPr/>
      <dgm:t>
        <a:bodyPr/>
        <a:lstStyle/>
        <a:p>
          <a:endParaRPr lang="en-US"/>
        </a:p>
      </dgm:t>
    </dgm:pt>
    <dgm:pt modelId="{830C7896-9962-4D53-B4DD-BF81390D1B30}" type="sibTrans" cxnId="{A189ADC6-4C32-4593-BEB9-AD1A8F1F9B78}">
      <dgm:prSet/>
      <dgm:spPr/>
      <dgm:t>
        <a:bodyPr/>
        <a:lstStyle/>
        <a:p>
          <a:endParaRPr lang="en-US"/>
        </a:p>
      </dgm:t>
    </dgm:pt>
    <dgm:pt modelId="{63D62DD1-39CC-4CBE-9CC6-E758F1D1135E}">
      <dgm:prSet/>
      <dgm:spPr/>
      <dgm:t>
        <a:bodyPr/>
        <a:lstStyle/>
        <a:p>
          <a:r>
            <a:rPr lang="en-US" b="1"/>
            <a:t>Client Support and Strategic Partnership </a:t>
          </a:r>
        </a:p>
      </dgm:t>
    </dgm:pt>
    <dgm:pt modelId="{B93A1E74-44B8-4D0C-B6B8-FAF010FEF0A0}" type="parTrans" cxnId="{16F9E9ED-AFAC-46BD-A2F4-A4A312717718}">
      <dgm:prSet/>
      <dgm:spPr/>
      <dgm:t>
        <a:bodyPr/>
        <a:lstStyle/>
        <a:p>
          <a:endParaRPr lang="en-US"/>
        </a:p>
      </dgm:t>
    </dgm:pt>
    <dgm:pt modelId="{C7F0173E-1EAD-4FF4-BD66-B153940CD363}" type="sibTrans" cxnId="{16F9E9ED-AFAC-46BD-A2F4-A4A312717718}">
      <dgm:prSet/>
      <dgm:spPr/>
      <dgm:t>
        <a:bodyPr/>
        <a:lstStyle/>
        <a:p>
          <a:endParaRPr lang="en-US"/>
        </a:p>
      </dgm:t>
    </dgm:pt>
    <dgm:pt modelId="{A2C5D3F3-2C45-4882-955D-605586F75FC3}" type="pres">
      <dgm:prSet presAssocID="{83F6A692-6EE2-464F-8D7F-83EF3D77CCB0}" presName="cycle" presStyleCnt="0">
        <dgm:presLayoutVars>
          <dgm:dir/>
          <dgm:resizeHandles val="exact"/>
        </dgm:presLayoutVars>
      </dgm:prSet>
      <dgm:spPr/>
    </dgm:pt>
    <dgm:pt modelId="{27441ECA-4AED-4126-A512-A20A7003682E}" type="pres">
      <dgm:prSet presAssocID="{5B3A169F-36FB-4E67-B722-845DAAFFA4E1}" presName="node" presStyleLbl="node1" presStyleIdx="0" presStyleCnt="6">
        <dgm:presLayoutVars>
          <dgm:bulletEnabled val="1"/>
        </dgm:presLayoutVars>
      </dgm:prSet>
      <dgm:spPr/>
    </dgm:pt>
    <dgm:pt modelId="{14D2B1A7-CA7D-4ED0-BFC4-036137764F16}" type="pres">
      <dgm:prSet presAssocID="{5B3A169F-36FB-4E67-B722-845DAAFFA4E1}" presName="spNode" presStyleCnt="0"/>
      <dgm:spPr/>
    </dgm:pt>
    <dgm:pt modelId="{BAB9CF8A-D928-44E3-AC2B-47E5698042A8}" type="pres">
      <dgm:prSet presAssocID="{61A87D32-79F6-4BF8-BF8F-8465DE4A0246}" presName="sibTrans" presStyleLbl="sibTrans1D1" presStyleIdx="0" presStyleCnt="6"/>
      <dgm:spPr/>
    </dgm:pt>
    <dgm:pt modelId="{62249A3A-C83A-4DA5-B6C0-12971672D1D8}" type="pres">
      <dgm:prSet presAssocID="{3DA05ED0-23F0-4F36-9A1A-1FE98AC6D3A0}" presName="node" presStyleLbl="node1" presStyleIdx="1" presStyleCnt="6">
        <dgm:presLayoutVars>
          <dgm:bulletEnabled val="1"/>
        </dgm:presLayoutVars>
      </dgm:prSet>
      <dgm:spPr/>
    </dgm:pt>
    <dgm:pt modelId="{6433788B-D5C6-4344-917F-0980275DD8B5}" type="pres">
      <dgm:prSet presAssocID="{3DA05ED0-23F0-4F36-9A1A-1FE98AC6D3A0}" presName="spNode" presStyleCnt="0"/>
      <dgm:spPr/>
    </dgm:pt>
    <dgm:pt modelId="{65CCD5F3-50D8-4DA2-998A-722888B9DB07}" type="pres">
      <dgm:prSet presAssocID="{7E8BED8C-DB5C-4F45-8120-31D3AB0271B4}" presName="sibTrans" presStyleLbl="sibTrans1D1" presStyleIdx="1" presStyleCnt="6"/>
      <dgm:spPr/>
    </dgm:pt>
    <dgm:pt modelId="{328E1DF5-8AF4-4D3C-8A56-6E407313F000}" type="pres">
      <dgm:prSet presAssocID="{1E3F1CD6-BBFC-4886-9D99-B1241991542A}" presName="node" presStyleLbl="node1" presStyleIdx="2" presStyleCnt="6">
        <dgm:presLayoutVars>
          <dgm:bulletEnabled val="1"/>
        </dgm:presLayoutVars>
      </dgm:prSet>
      <dgm:spPr/>
    </dgm:pt>
    <dgm:pt modelId="{A07C7813-E308-483B-91C1-50E1779B8DAA}" type="pres">
      <dgm:prSet presAssocID="{1E3F1CD6-BBFC-4886-9D99-B1241991542A}" presName="spNode" presStyleCnt="0"/>
      <dgm:spPr/>
    </dgm:pt>
    <dgm:pt modelId="{74DE05DD-5CB9-4E54-A41A-F716262CE9AB}" type="pres">
      <dgm:prSet presAssocID="{77CEA0D6-1EF0-4D87-8189-E7617931C453}" presName="sibTrans" presStyleLbl="sibTrans1D1" presStyleIdx="2" presStyleCnt="6"/>
      <dgm:spPr/>
    </dgm:pt>
    <dgm:pt modelId="{813A1191-5827-405E-B4BD-CB097EBBCCD3}" type="pres">
      <dgm:prSet presAssocID="{7F27D794-5C09-4CB7-9998-9E8FD710D50D}" presName="node" presStyleLbl="node1" presStyleIdx="3" presStyleCnt="6">
        <dgm:presLayoutVars>
          <dgm:bulletEnabled val="1"/>
        </dgm:presLayoutVars>
      </dgm:prSet>
      <dgm:spPr/>
    </dgm:pt>
    <dgm:pt modelId="{0D9EA107-463A-4089-9213-17054D8707BF}" type="pres">
      <dgm:prSet presAssocID="{7F27D794-5C09-4CB7-9998-9E8FD710D50D}" presName="spNode" presStyleCnt="0"/>
      <dgm:spPr/>
    </dgm:pt>
    <dgm:pt modelId="{9E1874B8-EA70-4C3C-8F00-D7104BA15691}" type="pres">
      <dgm:prSet presAssocID="{9C39EE3B-6A20-4B11-871A-2E75119EC941}" presName="sibTrans" presStyleLbl="sibTrans1D1" presStyleIdx="3" presStyleCnt="6"/>
      <dgm:spPr/>
    </dgm:pt>
    <dgm:pt modelId="{277F4F40-0F02-439D-BFB0-3BCF644798CA}" type="pres">
      <dgm:prSet presAssocID="{1DBC4CB6-D8AF-477B-9EE8-560C5A70E532}" presName="node" presStyleLbl="node1" presStyleIdx="4" presStyleCnt="6">
        <dgm:presLayoutVars>
          <dgm:bulletEnabled val="1"/>
        </dgm:presLayoutVars>
      </dgm:prSet>
      <dgm:spPr/>
    </dgm:pt>
    <dgm:pt modelId="{6ECA68AF-BD8D-40BA-9AE0-E29812A603A6}" type="pres">
      <dgm:prSet presAssocID="{1DBC4CB6-D8AF-477B-9EE8-560C5A70E532}" presName="spNode" presStyleCnt="0"/>
      <dgm:spPr/>
    </dgm:pt>
    <dgm:pt modelId="{C85C26B7-F64D-4DEC-8B56-68941FCB9B6A}" type="pres">
      <dgm:prSet presAssocID="{830C7896-9962-4D53-B4DD-BF81390D1B30}" presName="sibTrans" presStyleLbl="sibTrans1D1" presStyleIdx="4" presStyleCnt="6"/>
      <dgm:spPr/>
    </dgm:pt>
    <dgm:pt modelId="{4CBF2AD7-59A2-4B32-B67C-B6956A3F6D10}" type="pres">
      <dgm:prSet presAssocID="{63D62DD1-39CC-4CBE-9CC6-E758F1D1135E}" presName="node" presStyleLbl="node1" presStyleIdx="5" presStyleCnt="6" custScaleX="139704">
        <dgm:presLayoutVars>
          <dgm:bulletEnabled val="1"/>
        </dgm:presLayoutVars>
      </dgm:prSet>
      <dgm:spPr/>
    </dgm:pt>
    <dgm:pt modelId="{4B413DB4-1C94-49DA-94CF-83DAF473A93D}" type="pres">
      <dgm:prSet presAssocID="{63D62DD1-39CC-4CBE-9CC6-E758F1D1135E}" presName="spNode" presStyleCnt="0"/>
      <dgm:spPr/>
    </dgm:pt>
    <dgm:pt modelId="{96BEB4E9-CC63-47F5-8FBB-8E57F9DFC125}" type="pres">
      <dgm:prSet presAssocID="{C7F0173E-1EAD-4FF4-BD66-B153940CD363}" presName="sibTrans" presStyleLbl="sibTrans1D1" presStyleIdx="5" presStyleCnt="6"/>
      <dgm:spPr/>
    </dgm:pt>
  </dgm:ptLst>
  <dgm:cxnLst>
    <dgm:cxn modelId="{16CB7400-22E6-4BCE-B6B8-6E25A449443A}" srcId="{83F6A692-6EE2-464F-8D7F-83EF3D77CCB0}" destId="{5B3A169F-36FB-4E67-B722-845DAAFFA4E1}" srcOrd="0" destOrd="0" parTransId="{0997BA0C-0D39-4802-B2D3-E6EF1535DEF7}" sibTransId="{61A87D32-79F6-4BF8-BF8F-8465DE4A0246}"/>
    <dgm:cxn modelId="{EBA16601-96CE-4BDD-ACAA-0A48096B18D5}" type="presOf" srcId="{C7F0173E-1EAD-4FF4-BD66-B153940CD363}" destId="{96BEB4E9-CC63-47F5-8FBB-8E57F9DFC125}" srcOrd="0" destOrd="0" presId="urn:microsoft.com/office/officeart/2005/8/layout/cycle5"/>
    <dgm:cxn modelId="{63EBB209-CF95-4315-8A40-5A94C8EC9A6E}" srcId="{83F6A692-6EE2-464F-8D7F-83EF3D77CCB0}" destId="{1E3F1CD6-BBFC-4886-9D99-B1241991542A}" srcOrd="2" destOrd="0" parTransId="{0A648271-0DA9-48DD-B72E-98855093AF34}" sibTransId="{77CEA0D6-1EF0-4D87-8189-E7617931C453}"/>
    <dgm:cxn modelId="{DEEC3917-FE07-41D3-B17B-341AC8175FC7}" type="presOf" srcId="{77CEA0D6-1EF0-4D87-8189-E7617931C453}" destId="{74DE05DD-5CB9-4E54-A41A-F716262CE9AB}" srcOrd="0" destOrd="0" presId="urn:microsoft.com/office/officeart/2005/8/layout/cycle5"/>
    <dgm:cxn modelId="{6A573165-806C-48A2-A6B7-ECCBD6D14B46}" type="presOf" srcId="{9C39EE3B-6A20-4B11-871A-2E75119EC941}" destId="{9E1874B8-EA70-4C3C-8F00-D7104BA15691}" srcOrd="0" destOrd="0" presId="urn:microsoft.com/office/officeart/2005/8/layout/cycle5"/>
    <dgm:cxn modelId="{DBFD1E68-CE8E-4F26-B278-2021A469CCE3}" srcId="{83F6A692-6EE2-464F-8D7F-83EF3D77CCB0}" destId="{7F27D794-5C09-4CB7-9998-9E8FD710D50D}" srcOrd="3" destOrd="0" parTransId="{AF4D53C5-0F84-40F9-BAC3-D426901E850C}" sibTransId="{9C39EE3B-6A20-4B11-871A-2E75119EC941}"/>
    <dgm:cxn modelId="{E022BF72-51A0-48E3-BAB9-8DD946937299}" type="presOf" srcId="{63D62DD1-39CC-4CBE-9CC6-E758F1D1135E}" destId="{4CBF2AD7-59A2-4B32-B67C-B6956A3F6D10}" srcOrd="0" destOrd="0" presId="urn:microsoft.com/office/officeart/2005/8/layout/cycle5"/>
    <dgm:cxn modelId="{DE809754-F626-4813-8AA6-4EBB1692A047}" srcId="{83F6A692-6EE2-464F-8D7F-83EF3D77CCB0}" destId="{3DA05ED0-23F0-4F36-9A1A-1FE98AC6D3A0}" srcOrd="1" destOrd="0" parTransId="{B78288CB-E6EB-446C-9BCC-AE0A8ABB4897}" sibTransId="{7E8BED8C-DB5C-4F45-8120-31D3AB0271B4}"/>
    <dgm:cxn modelId="{B5627B76-7565-4B79-8F3D-3E2290A3FC75}" type="presOf" srcId="{7E8BED8C-DB5C-4F45-8120-31D3AB0271B4}" destId="{65CCD5F3-50D8-4DA2-998A-722888B9DB07}" srcOrd="0" destOrd="0" presId="urn:microsoft.com/office/officeart/2005/8/layout/cycle5"/>
    <dgm:cxn modelId="{7F831F7C-D24C-4B5D-91E8-8DCE8BFDD16F}" type="presOf" srcId="{7F27D794-5C09-4CB7-9998-9E8FD710D50D}" destId="{813A1191-5827-405E-B4BD-CB097EBBCCD3}" srcOrd="0" destOrd="0" presId="urn:microsoft.com/office/officeart/2005/8/layout/cycle5"/>
    <dgm:cxn modelId="{D7CE437F-D305-433A-B8A4-6E7D38B90937}" type="presOf" srcId="{830C7896-9962-4D53-B4DD-BF81390D1B30}" destId="{C85C26B7-F64D-4DEC-8B56-68941FCB9B6A}" srcOrd="0" destOrd="0" presId="urn:microsoft.com/office/officeart/2005/8/layout/cycle5"/>
    <dgm:cxn modelId="{271BC27F-EAA1-4EF4-9672-4DAB9B5D64AC}" type="presOf" srcId="{61A87D32-79F6-4BF8-BF8F-8465DE4A0246}" destId="{BAB9CF8A-D928-44E3-AC2B-47E5698042A8}" srcOrd="0" destOrd="0" presId="urn:microsoft.com/office/officeart/2005/8/layout/cycle5"/>
    <dgm:cxn modelId="{2E770E98-3273-426A-9988-B7E38F41307B}" type="presOf" srcId="{3DA05ED0-23F0-4F36-9A1A-1FE98AC6D3A0}" destId="{62249A3A-C83A-4DA5-B6C0-12971672D1D8}" srcOrd="0" destOrd="0" presId="urn:microsoft.com/office/officeart/2005/8/layout/cycle5"/>
    <dgm:cxn modelId="{FC1CE8A7-B442-4204-B00B-BFC2F22FFF73}" type="presOf" srcId="{1DBC4CB6-D8AF-477B-9EE8-560C5A70E532}" destId="{277F4F40-0F02-439D-BFB0-3BCF644798CA}" srcOrd="0" destOrd="0" presId="urn:microsoft.com/office/officeart/2005/8/layout/cycle5"/>
    <dgm:cxn modelId="{25967DC6-4CB2-438A-8480-CDC7B4D3764A}" type="presOf" srcId="{1E3F1CD6-BBFC-4886-9D99-B1241991542A}" destId="{328E1DF5-8AF4-4D3C-8A56-6E407313F000}" srcOrd="0" destOrd="0" presId="urn:microsoft.com/office/officeart/2005/8/layout/cycle5"/>
    <dgm:cxn modelId="{A189ADC6-4C32-4593-BEB9-AD1A8F1F9B78}" srcId="{83F6A692-6EE2-464F-8D7F-83EF3D77CCB0}" destId="{1DBC4CB6-D8AF-477B-9EE8-560C5A70E532}" srcOrd="4" destOrd="0" parTransId="{93E47A91-9EF5-4799-A466-AF9B978862ED}" sibTransId="{830C7896-9962-4D53-B4DD-BF81390D1B30}"/>
    <dgm:cxn modelId="{FD4B36D0-62B9-4E3D-A7D2-7CBB3E4175CE}" type="presOf" srcId="{5B3A169F-36FB-4E67-B722-845DAAFFA4E1}" destId="{27441ECA-4AED-4126-A512-A20A7003682E}" srcOrd="0" destOrd="0" presId="urn:microsoft.com/office/officeart/2005/8/layout/cycle5"/>
    <dgm:cxn modelId="{594A28E0-C51E-4FBC-B1B2-8B83B9CC0FC8}" type="presOf" srcId="{83F6A692-6EE2-464F-8D7F-83EF3D77CCB0}" destId="{A2C5D3F3-2C45-4882-955D-605586F75FC3}" srcOrd="0" destOrd="0" presId="urn:microsoft.com/office/officeart/2005/8/layout/cycle5"/>
    <dgm:cxn modelId="{16F9E9ED-AFAC-46BD-A2F4-A4A312717718}" srcId="{83F6A692-6EE2-464F-8D7F-83EF3D77CCB0}" destId="{63D62DD1-39CC-4CBE-9CC6-E758F1D1135E}" srcOrd="5" destOrd="0" parTransId="{B93A1E74-44B8-4D0C-B6B8-FAF010FEF0A0}" sibTransId="{C7F0173E-1EAD-4FF4-BD66-B153940CD363}"/>
    <dgm:cxn modelId="{E63FDBCF-1C52-4530-B832-A7C1307A42D9}" type="presParOf" srcId="{A2C5D3F3-2C45-4882-955D-605586F75FC3}" destId="{27441ECA-4AED-4126-A512-A20A7003682E}" srcOrd="0" destOrd="0" presId="urn:microsoft.com/office/officeart/2005/8/layout/cycle5"/>
    <dgm:cxn modelId="{2477D654-86D8-42D4-9784-6A8B9D39870E}" type="presParOf" srcId="{A2C5D3F3-2C45-4882-955D-605586F75FC3}" destId="{14D2B1A7-CA7D-4ED0-BFC4-036137764F16}" srcOrd="1" destOrd="0" presId="urn:microsoft.com/office/officeart/2005/8/layout/cycle5"/>
    <dgm:cxn modelId="{4C586DE1-584B-4B12-B9B6-66114F1463CA}" type="presParOf" srcId="{A2C5D3F3-2C45-4882-955D-605586F75FC3}" destId="{BAB9CF8A-D928-44E3-AC2B-47E5698042A8}" srcOrd="2" destOrd="0" presId="urn:microsoft.com/office/officeart/2005/8/layout/cycle5"/>
    <dgm:cxn modelId="{6ABF9BF8-80D2-4D55-B15E-50E7D4F8468B}" type="presParOf" srcId="{A2C5D3F3-2C45-4882-955D-605586F75FC3}" destId="{62249A3A-C83A-4DA5-B6C0-12971672D1D8}" srcOrd="3" destOrd="0" presId="urn:microsoft.com/office/officeart/2005/8/layout/cycle5"/>
    <dgm:cxn modelId="{B1736918-2561-4D7E-AE76-02E769F9ED02}" type="presParOf" srcId="{A2C5D3F3-2C45-4882-955D-605586F75FC3}" destId="{6433788B-D5C6-4344-917F-0980275DD8B5}" srcOrd="4" destOrd="0" presId="urn:microsoft.com/office/officeart/2005/8/layout/cycle5"/>
    <dgm:cxn modelId="{C432245C-1ED6-4618-8EF2-F6AE9791F3DC}" type="presParOf" srcId="{A2C5D3F3-2C45-4882-955D-605586F75FC3}" destId="{65CCD5F3-50D8-4DA2-998A-722888B9DB07}" srcOrd="5" destOrd="0" presId="urn:microsoft.com/office/officeart/2005/8/layout/cycle5"/>
    <dgm:cxn modelId="{E188C915-163A-4730-8794-CEB6ACB88E24}" type="presParOf" srcId="{A2C5D3F3-2C45-4882-955D-605586F75FC3}" destId="{328E1DF5-8AF4-4D3C-8A56-6E407313F000}" srcOrd="6" destOrd="0" presId="urn:microsoft.com/office/officeart/2005/8/layout/cycle5"/>
    <dgm:cxn modelId="{C8E5052D-CCDB-4E69-8E5E-75F783AB7201}" type="presParOf" srcId="{A2C5D3F3-2C45-4882-955D-605586F75FC3}" destId="{A07C7813-E308-483B-91C1-50E1779B8DAA}" srcOrd="7" destOrd="0" presId="urn:microsoft.com/office/officeart/2005/8/layout/cycle5"/>
    <dgm:cxn modelId="{BD452C2F-76D1-4B52-8CD9-A77D2275F04A}" type="presParOf" srcId="{A2C5D3F3-2C45-4882-955D-605586F75FC3}" destId="{74DE05DD-5CB9-4E54-A41A-F716262CE9AB}" srcOrd="8" destOrd="0" presId="urn:microsoft.com/office/officeart/2005/8/layout/cycle5"/>
    <dgm:cxn modelId="{23E30ED4-0987-4513-8FCE-46030BAF5B21}" type="presParOf" srcId="{A2C5D3F3-2C45-4882-955D-605586F75FC3}" destId="{813A1191-5827-405E-B4BD-CB097EBBCCD3}" srcOrd="9" destOrd="0" presId="urn:microsoft.com/office/officeart/2005/8/layout/cycle5"/>
    <dgm:cxn modelId="{79CF823E-92B1-444E-AF30-80BEE41D45BF}" type="presParOf" srcId="{A2C5D3F3-2C45-4882-955D-605586F75FC3}" destId="{0D9EA107-463A-4089-9213-17054D8707BF}" srcOrd="10" destOrd="0" presId="urn:microsoft.com/office/officeart/2005/8/layout/cycle5"/>
    <dgm:cxn modelId="{F6461405-0152-4C13-BED0-9A723355269F}" type="presParOf" srcId="{A2C5D3F3-2C45-4882-955D-605586F75FC3}" destId="{9E1874B8-EA70-4C3C-8F00-D7104BA15691}" srcOrd="11" destOrd="0" presId="urn:microsoft.com/office/officeart/2005/8/layout/cycle5"/>
    <dgm:cxn modelId="{4F050694-8F9D-40F5-ABF7-909525A8AAF6}" type="presParOf" srcId="{A2C5D3F3-2C45-4882-955D-605586F75FC3}" destId="{277F4F40-0F02-439D-BFB0-3BCF644798CA}" srcOrd="12" destOrd="0" presId="urn:microsoft.com/office/officeart/2005/8/layout/cycle5"/>
    <dgm:cxn modelId="{3A13A717-7070-4742-B406-538A4C5ACD3E}" type="presParOf" srcId="{A2C5D3F3-2C45-4882-955D-605586F75FC3}" destId="{6ECA68AF-BD8D-40BA-9AE0-E29812A603A6}" srcOrd="13" destOrd="0" presId="urn:microsoft.com/office/officeart/2005/8/layout/cycle5"/>
    <dgm:cxn modelId="{B7A6CAC7-962C-4472-A0A9-0A60E4063423}" type="presParOf" srcId="{A2C5D3F3-2C45-4882-955D-605586F75FC3}" destId="{C85C26B7-F64D-4DEC-8B56-68941FCB9B6A}" srcOrd="14" destOrd="0" presId="urn:microsoft.com/office/officeart/2005/8/layout/cycle5"/>
    <dgm:cxn modelId="{A9BEDC06-A37E-4115-8E80-1DD0565B2361}" type="presParOf" srcId="{A2C5D3F3-2C45-4882-955D-605586F75FC3}" destId="{4CBF2AD7-59A2-4B32-B67C-B6956A3F6D10}" srcOrd="15" destOrd="0" presId="urn:microsoft.com/office/officeart/2005/8/layout/cycle5"/>
    <dgm:cxn modelId="{26828808-E704-4BB0-AE80-3DE7193D8FAD}" type="presParOf" srcId="{A2C5D3F3-2C45-4882-955D-605586F75FC3}" destId="{4B413DB4-1C94-49DA-94CF-83DAF473A93D}" srcOrd="16" destOrd="0" presId="urn:microsoft.com/office/officeart/2005/8/layout/cycle5"/>
    <dgm:cxn modelId="{B123AE2C-6035-4002-A30D-8EF3F25022A5}" type="presParOf" srcId="{A2C5D3F3-2C45-4882-955D-605586F75FC3}" destId="{96BEB4E9-CC63-47F5-8FBB-8E57F9DFC125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441ECA-4AED-4126-A512-A20A7003682E}">
      <dsp:nvSpPr>
        <dsp:cNvPr id="0" name=""/>
        <dsp:cNvSpPr/>
      </dsp:nvSpPr>
      <dsp:spPr>
        <a:xfrm>
          <a:off x="2408086" y="4027"/>
          <a:ext cx="1207314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/>
            <a:t>Risk Mitigation </a:t>
          </a:r>
          <a:endParaRPr lang="en-US" sz="1200" b="1" kern="1200"/>
        </a:p>
      </dsp:txBody>
      <dsp:txXfrm>
        <a:off x="2446395" y="42336"/>
        <a:ext cx="1130696" cy="708136"/>
      </dsp:txXfrm>
    </dsp:sp>
    <dsp:sp modelId="{BAB9CF8A-D928-44E3-AC2B-47E5698042A8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2602350" y="161423"/>
              </a:moveTo>
              <a:arcTo wR="1847170" hR="1847170" stAng="17647883" swAng="92278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249A3A-C83A-4DA5-B6C0-12971672D1D8}">
      <dsp:nvSpPr>
        <dsp:cNvPr id="0" name=""/>
        <dsp:cNvSpPr/>
      </dsp:nvSpPr>
      <dsp:spPr>
        <a:xfrm>
          <a:off x="4007783" y="927613"/>
          <a:ext cx="1207314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Liquidity Management </a:t>
          </a:r>
        </a:p>
      </dsp:txBody>
      <dsp:txXfrm>
        <a:off x="4046092" y="965922"/>
        <a:ext cx="1130696" cy="708136"/>
      </dsp:txXfrm>
    </dsp:sp>
    <dsp:sp modelId="{65CCD5F3-50D8-4DA2-998A-722888B9DB07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3665589" y="1522531"/>
              </a:moveTo>
              <a:arcTo wR="1847170" hR="1847170" stAng="20992665" swAng="121467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8E1DF5-8AF4-4D3C-8A56-6E407313F000}">
      <dsp:nvSpPr>
        <dsp:cNvPr id="0" name=""/>
        <dsp:cNvSpPr/>
      </dsp:nvSpPr>
      <dsp:spPr>
        <a:xfrm>
          <a:off x="4007783" y="2774783"/>
          <a:ext cx="1207314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Global Reach </a:t>
          </a:r>
        </a:p>
      </dsp:txBody>
      <dsp:txXfrm>
        <a:off x="4046092" y="2813092"/>
        <a:ext cx="1130696" cy="708136"/>
      </dsp:txXfrm>
    </dsp:sp>
    <dsp:sp modelId="{74DE05DD-5CB9-4E54-A41A-F716262CE9AB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3022392" y="3272264"/>
              </a:moveTo>
              <a:arcTo wR="1847170" hR="1847170" stAng="3029332" swAng="92278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3A1191-5827-405E-B4BD-CB097EBBCCD3}">
      <dsp:nvSpPr>
        <dsp:cNvPr id="0" name=""/>
        <dsp:cNvSpPr/>
      </dsp:nvSpPr>
      <dsp:spPr>
        <a:xfrm>
          <a:off x="2408086" y="3698368"/>
          <a:ext cx="1207314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Regulatory &amp; Compliance </a:t>
          </a:r>
          <a:endParaRPr lang="en-US" sz="1200" kern="1200"/>
        </a:p>
      </dsp:txBody>
      <dsp:txXfrm>
        <a:off x="2446395" y="3736677"/>
        <a:ext cx="1130696" cy="708136"/>
      </dsp:txXfrm>
    </dsp:sp>
    <dsp:sp modelId="{9E1874B8-EA70-4C3C-8F00-D7104BA15691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1091991" y="3532917"/>
              </a:moveTo>
              <a:arcTo wR="1847170" hR="1847170" stAng="6847883" swAng="92278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7F4F40-0F02-439D-BFB0-3BCF644798CA}">
      <dsp:nvSpPr>
        <dsp:cNvPr id="0" name=""/>
        <dsp:cNvSpPr/>
      </dsp:nvSpPr>
      <dsp:spPr>
        <a:xfrm>
          <a:off x="808390" y="2774783"/>
          <a:ext cx="1207314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Technological Innovation  </a:t>
          </a:r>
        </a:p>
      </dsp:txBody>
      <dsp:txXfrm>
        <a:off x="846699" y="2813092"/>
        <a:ext cx="1130696" cy="708136"/>
      </dsp:txXfrm>
    </dsp:sp>
    <dsp:sp modelId="{C85C26B7-F64D-4DEC-8B56-68941FCB9B6A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28751" y="2171809"/>
              </a:moveTo>
              <a:arcTo wR="1847170" hR="1847170" stAng="10192665" swAng="1214671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BF2AD7-59A2-4B32-B67C-B6956A3F6D10}">
      <dsp:nvSpPr>
        <dsp:cNvPr id="0" name=""/>
        <dsp:cNvSpPr/>
      </dsp:nvSpPr>
      <dsp:spPr>
        <a:xfrm>
          <a:off x="568714" y="927613"/>
          <a:ext cx="1686666" cy="7847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Client Support and Strategic Partnership </a:t>
          </a:r>
        </a:p>
      </dsp:txBody>
      <dsp:txXfrm>
        <a:off x="607023" y="965922"/>
        <a:ext cx="1610048" cy="708136"/>
      </dsp:txXfrm>
    </dsp:sp>
    <dsp:sp modelId="{96BEB4E9-CC63-47F5-8FBB-8E57F9DFC125}">
      <dsp:nvSpPr>
        <dsp:cNvPr id="0" name=""/>
        <dsp:cNvSpPr/>
      </dsp:nvSpPr>
      <dsp:spPr>
        <a:xfrm>
          <a:off x="1164573" y="396404"/>
          <a:ext cx="3694341" cy="3694341"/>
        </a:xfrm>
        <a:custGeom>
          <a:avLst/>
          <a:gdLst/>
          <a:ahLst/>
          <a:cxnLst/>
          <a:rect l="0" t="0" r="0" b="0"/>
          <a:pathLst>
            <a:path>
              <a:moveTo>
                <a:pt x="671948" y="422076"/>
              </a:moveTo>
              <a:arcTo wR="1847170" hR="1847170" stAng="13829332" swAng="92278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8129547" y="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/>
          <a:lstStyle>
            <a:lvl1pPr algn="r">
              <a:defRPr sz="1800"/>
            </a:lvl1pPr>
          </a:lstStyle>
          <a:p>
            <a:fld id="{EE5FC34F-EEB8-43C6-9BFB-B9E8AAE4154C}" type="datetimeFigureOut">
              <a:rPr lang="en-US" smtClean="0"/>
              <a:t>3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8938" y="1239838"/>
            <a:ext cx="5953125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0013" tIns="70006" rIns="140013" bIns="7000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434431" y="4773549"/>
            <a:ext cx="11482144" cy="3905314"/>
          </a:xfrm>
          <a:prstGeom prst="rect">
            <a:avLst/>
          </a:prstGeom>
        </p:spPr>
        <p:txBody>
          <a:bodyPr vert="horz" lIns="140013" tIns="70006" rIns="140013" bIns="7000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207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 anchor="b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8129547" y="942207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 anchor="b"/>
          <a:lstStyle>
            <a:lvl1pPr algn="r">
              <a:defRPr sz="1800"/>
            </a:lvl1pPr>
          </a:lstStyle>
          <a:p>
            <a:fld id="{BD077DB4-3938-4958-8DEA-D648A09397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0049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eutsche Börse Group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F281821B-9323-4468-A4A2-A786705D1F60}" type="datetime1">
              <a:rPr lang="en-US" smtClean="0"/>
              <a:t>3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89DB8B-FD84-473E-8D2A-AD8FDE25B74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75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1016000"/>
            <a:ext cx="5853113" cy="32940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>
              <a:latin typeface="+mj-lt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9C17888-8498-4462-8D93-030891CF5D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1CA6BE-B668-43BF-AD94-236A3F9C25D6}" type="datetime1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6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D02D2EE-E13A-496C-963F-4E76C759DC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7CBFC7B-6651-4932-9FC9-CD6CBEE8B3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89DB8B-FD84-473E-8D2A-AD8FDE25B74C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8F33672C-32CB-4798-9C2D-7D0283E3B15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1711053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70338" y="1111250"/>
            <a:ext cx="6405562" cy="3603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63EDC13-BA5E-44E2-992C-9EB32BB527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defTabSz="1400129">
              <a:defRPr/>
            </a:pPr>
            <a:fld id="{98E42272-639A-4F72-B129-4ED301F4DF1A}" type="datetime1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3/6/202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C66B78-452A-4E8E-833C-C00892C4D1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4814331-F54F-4AA0-84CF-01444A427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400129">
              <a:defRPr/>
            </a:pPr>
            <a:fld id="{0689DB8B-FD84-473E-8D2A-AD8FDE25B74C}" type="slidenum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37FF68B6-0F4F-4693-9DF0-54C37F3392D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3157075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70338" y="1111250"/>
            <a:ext cx="6405562" cy="3603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63EDC13-BA5E-44E2-992C-9EB32BB527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defTabSz="1400129">
              <a:defRPr/>
            </a:pPr>
            <a:fld id="{98E42272-639A-4F72-B129-4ED301F4DF1A}" type="datetime1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3/6/202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C66B78-452A-4E8E-833C-C00892C4D1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4814331-F54F-4AA0-84CF-01444A427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400129">
              <a:defRPr/>
            </a:pPr>
            <a:fld id="{0689DB8B-FD84-473E-8D2A-AD8FDE25B74C}" type="slidenum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5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37FF68B6-0F4F-4693-9DF0-54C37F3392D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2566442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eutsche Börse Group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F281821B-9323-4468-A4A2-A786705D1F60}" type="datetime1">
              <a:rPr lang="en-US" smtClean="0"/>
              <a:t>3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89DB8B-FD84-473E-8D2A-AD8FDE25B74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279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5.emf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|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BEAD5F2-747E-41AF-BC6A-51FD86687F5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856000" y="2908276"/>
            <a:ext cx="6480000" cy="104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58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lef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699DFD9-25B7-4BE0-9032-020510802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5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699DFD9-25B7-4BE0-9032-020510802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43C8737-CA51-4148-81DC-F9C80508A1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63CF737-36F6-441D-B92C-EC5D22B3B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88" y="5787300"/>
            <a:ext cx="2127600" cy="342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B56861E-14AD-46E2-ABEF-F27C362850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949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Presentation 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6AD8C72-018C-4BD6-A7A6-5999612434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949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0" name="Datumsplatzhalter 24">
            <a:extLst>
              <a:ext uri="{FF2B5EF4-FFF2-40B4-BE49-F238E27FC236}">
                <a16:creationId xmlns:a16="http://schemas.microsoft.com/office/drawing/2014/main" id="{8D360B2C-CC91-4F38-A3C3-C91528777F0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3483" y="3919472"/>
            <a:ext cx="3529571" cy="697660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02294F5D-6B29-4538-A254-7B683D5DA4DC}" type="datetime1">
              <a:rPr lang="en-US"/>
              <a:pPr/>
              <a:t>3/6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89676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C76ECB-32CB-400C-8363-6129F9AFE8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C76ECB-32CB-400C-8363-6129F9AFE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6AD052E-8012-4835-9892-599D5CAFCC8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587374" y="1916584"/>
            <a:ext cx="352901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4E953B2-D72D-4578-939D-BC8A4FF7FE1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8075613" y="1916113"/>
            <a:ext cx="3528999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8F94276C-FF43-433B-8FDC-C87F7B8A3A3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4332289" y="1916584"/>
            <a:ext cx="352742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35E5A-B454-4B24-A414-65722C43591D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5145C6A8-8AC8-4B33-A658-4EA7C8DE12B3}" type="datetime1">
              <a:rPr lang="en-GB"/>
              <a:pPr/>
              <a:t>06/03/2024</a:t>
            </a:fld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82906B0-826B-4802-AB57-FEA612A14A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en-GB"/>
              <a:t>Clearstream | Deutsche Börse Group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1429482-32B6-41C3-8AAB-6B1D238FF0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84085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729">
          <p15:clr>
            <a:srgbClr val="F26B43"/>
          </p15:clr>
        </p15:guide>
        <p15:guide id="2" pos="2593">
          <p15:clr>
            <a:srgbClr val="F26B43"/>
          </p15:clr>
        </p15:guide>
        <p15:guide id="3" pos="4951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pos="370">
          <p15:clr>
            <a:srgbClr val="F26B43"/>
          </p15:clr>
        </p15:guide>
        <p15:guide id="8" pos="7310">
          <p15:clr>
            <a:srgbClr val="F26B43"/>
          </p15:clr>
        </p15:guide>
        <p15:guide id="9" orient="horz" pos="232">
          <p15:clr>
            <a:srgbClr val="F26B43"/>
          </p15:clr>
        </p15:guide>
        <p15:guide id="10" orient="horz" pos="935">
          <p15:clr>
            <a:srgbClr val="F26B43"/>
          </p15:clr>
        </p15:guide>
        <p15:guide id="11" orient="horz" pos="1207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7D2DB-FED3-5482-155C-776381172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2B778-9B48-DA25-86D8-ED5C1FC15A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577E05-A582-2EE7-9FA7-7E078350F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66FFD-824A-4EBD-B9B7-460EDF7125E9}" type="datetimeFigureOut">
              <a:rPr lang="en-US" smtClean="0"/>
              <a:t>3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43BC55-3FB3-F678-A4AF-AAF763E78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87E5D2-1A46-4174-A55D-A20741706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5908-DCCC-4E07-AD35-52FF61E188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586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E714025-380E-4F46-B9C8-59C7A765CE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04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E714025-380E-4F46-B9C8-59C7A765CE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E23947-AAD7-46F5-90B9-637E2F2B78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F415C9-C25A-478D-93EE-A7D1B7F1D688}" type="datetime1">
              <a:rPr lang="en-US"/>
              <a:pPr/>
              <a:t>3/6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478842-0AA7-46BF-800F-296796A0E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Clearstream | Deutsche Börse Group</a:t>
            </a:r>
            <a:endParaRPr lang="en-GB" noProof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650C6F3-DAE8-4445-83E1-2FACDB9D1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5314022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4" pos="7310">
          <p15:clr>
            <a:srgbClr val="F26B43"/>
          </p15:clr>
        </p15:guide>
        <p15:guide id="7" pos="3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23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1207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F0D79F-D9E1-4CA4-84E3-A324EB94C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F0D79F-D9E1-4CA4-84E3-A324EB94C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15B24A-8235-4E59-8E30-65A9F2F3E68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747628" y="2132856"/>
            <a:ext cx="4896544" cy="2754306"/>
          </a:xfrm>
          <a:solidFill>
            <a:schemeClr val="bg2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MIO_VALID_LAYOUT">
            <a:extLst>
              <a:ext uri="{FF2B5EF4-FFF2-40B4-BE49-F238E27FC236}">
                <a16:creationId xmlns:a16="http://schemas.microsoft.com/office/drawing/2014/main" id="{5AA293F3-CFE1-47F6-B8BD-3D9D0C7A6E16}"/>
              </a:ext>
            </a:extLst>
          </p:cNvPr>
          <p:cNvSpPr/>
          <p:nvPr/>
        </p:nvSpPr>
        <p:spPr bwMode="gray">
          <a:xfrm>
            <a:off x="11744853" y="6586858"/>
            <a:ext cx="447147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GB" sz="1600" kern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ADE2B-2B3D-4FEA-891D-6033FFA8B6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95C18B5-84D8-4154-8070-8904A8F8D0C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8861412" y="6381352"/>
            <a:ext cx="2743200" cy="2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EC3F818C-7FD6-4934-A609-726FC894C442}" type="datetime1">
              <a:rPr lang="en-US" smtClean="0"/>
              <a:pPr/>
              <a:t>3/6/2024</a:t>
            </a:fld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34250FF-0746-4F94-9FB9-22B0580363A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F17036C-98B5-4219-80CA-20986B8D39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7388" y="6381352"/>
            <a:ext cx="1896353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Group Advisory Board</a:t>
            </a:r>
          </a:p>
        </p:txBody>
      </p:sp>
    </p:spTree>
    <p:extLst>
      <p:ext uri="{BB962C8B-B14F-4D97-AF65-F5344CB8AC3E}">
        <p14:creationId xmlns:p14="http://schemas.microsoft.com/office/powerpoint/2010/main" val="81666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70">
          <p15:clr>
            <a:srgbClr val="F26B43"/>
          </p15:clr>
        </p15:guide>
        <p15:guide id="10" pos="7310">
          <p15:clr>
            <a:srgbClr val="F26B43"/>
          </p15:clr>
        </p15:guide>
        <p15:guide id="12" orient="horz" pos="3861">
          <p15:clr>
            <a:srgbClr val="F26B43"/>
          </p15:clr>
        </p15:guide>
        <p15:guide id="13" orient="horz" pos="10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rgbClr val="00A4C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800" b="1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666666"/>
                </a:solidFill>
                <a:latin typeface="Trebuchet MS"/>
                <a:cs typeface="Trebuchet MS"/>
              </a:defRPr>
            </a:lvl1pPr>
          </a:lstStyle>
          <a:p>
            <a:pPr marL="69850">
              <a:lnSpc>
                <a:spcPct val="100000"/>
              </a:lnSpc>
              <a:spcBef>
                <a:spcPts val="15"/>
              </a:spcBef>
            </a:pPr>
            <a:fld id="{81D60167-4931-47E6-BA6A-407CBD079E47}" type="slidenum">
              <a:rPr spc="-5" dirty="0">
                <a:latin typeface="Arial"/>
                <a:cs typeface="Arial"/>
              </a:rPr>
              <a:t>‹#›</a:t>
            </a:fld>
            <a:endParaRPr spc="-5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9424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C6DE9DE-F2F9-4FDA-8FA3-8BF1AF250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C6DE9DE-F2F9-4FDA-8FA3-8BF1AF250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700"/>
            <a:ext cx="5400669" cy="719783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ontac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08446A-11B3-4DB8-BD2F-089747ACC3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731404" y="5625301"/>
            <a:ext cx="2743267" cy="503999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B0ABBEB-0D17-4549-8CD5-306502D090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28366E5-48C1-48F5-9172-04DA025F08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03949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3D536B8-F180-792D-1170-7716535DB1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earstream / Deutsche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ers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roup</a:t>
            </a:r>
          </a:p>
        </p:txBody>
      </p:sp>
    </p:spTree>
    <p:extLst>
      <p:ext uri="{BB962C8B-B14F-4D97-AF65-F5344CB8AC3E}">
        <p14:creationId xmlns:p14="http://schemas.microsoft.com/office/powerpoint/2010/main" val="806133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459">
          <p15:clr>
            <a:srgbClr val="F26B43"/>
          </p15:clr>
        </p15:guide>
        <p15:guide id="18" orient="horz" pos="309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260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7E9D9C54-8802-C389-BFCB-50235581279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E1FB14A-9D45-4F94-C220-49890EC15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400A5E-DBAE-142C-336D-3ACA7174A5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6533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6260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6B43F6B5-3B96-DDAC-C2F4-FBAA1C4424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6190EAC2-9B1D-2057-9E4C-0A0B022C7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F19FE710-447E-2D58-122B-1335C0D86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1136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E991783-1FD6-9A16-78CC-B16EFDAA38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F02C2041-74E2-218A-100D-1C001D4F8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A43413BC-3C57-D3E4-D610-7526BD1552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21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4966F88D-5937-34DB-1892-CC9B171DB1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039414" y="368300"/>
            <a:ext cx="2574829" cy="413820"/>
          </a:xfrm>
          <a:prstGeom prst="rect">
            <a:avLst/>
          </a:prstGeom>
        </p:spPr>
      </p:pic>
      <p:sp>
        <p:nvSpPr>
          <p:cNvPr id="3" name="Titel 4">
            <a:extLst>
              <a:ext uri="{FF2B5EF4-FFF2-40B4-BE49-F238E27FC236}">
                <a16:creationId xmlns:a16="http://schemas.microsoft.com/office/drawing/2014/main" id="{931AA41D-C03C-D9BB-BED9-46A20AE2E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2F916CC-74E7-C02D-18E4-A28D4DBC0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972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B986243-2F6B-E40E-6E7C-65DC0182E3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039414" y="368300"/>
            <a:ext cx="2574829" cy="413820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E0193E83-7183-0C73-F161-5FE4975C3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12CC1F8-F395-BBB4-EF0D-6AB8464DE8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373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EB47D4E5-C0BC-59C4-C34E-80B2BBE34E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279576" y="377329"/>
            <a:ext cx="2574829" cy="413820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3A439EB9-B15F-D0F8-59ED-E2F48EB94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13D24052-CFCF-0AC0-5B2B-EBB683EE41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7178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FB6B354-D26F-4CA3-8423-CEC7A748C4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0038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FB6B354-D26F-4CA3-8423-CEC7A748C4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E60B3DF5-A017-44F8-B089-C048DCA5014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7376" y="1916113"/>
            <a:ext cx="11017250" cy="421322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B3D16E-414A-4060-BC94-84535C0165F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1B96FCD-C3E6-4675-AC9B-87FF4583B04D}" type="datetime1">
              <a:rPr lang="en-GB"/>
              <a:t>06/03/2024</a:t>
            </a:fld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C806EC-DFB2-43BD-A821-744770D5D3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Clearstream | Deutsche Börse Group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0D78AD3-49B2-42FE-A559-BEA23650D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672C9EDE-4A13-4E4A-9EAA-A59A97CC9CE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23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6" orient="horz" pos="232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1207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DB1F12-780B-4457-92FE-697C82B261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63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DB1F12-780B-4457-92FE-697C82B26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>
            <a:extLst>
              <a:ext uri="{FF2B5EF4-FFF2-40B4-BE49-F238E27FC236}">
                <a16:creationId xmlns:a16="http://schemas.microsoft.com/office/drawing/2014/main" id="{ED78BDF4-D19E-42DE-B03D-842CAB4E0E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318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B0255F2F-02B4-4535-B2A0-1D1446A0AD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318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9" name="Datumsplatzhalter 24">
            <a:extLst>
              <a:ext uri="{FF2B5EF4-FFF2-40B4-BE49-F238E27FC236}">
                <a16:creationId xmlns:a16="http://schemas.microsoft.com/office/drawing/2014/main" id="{80D1C763-2B8F-441F-9A03-9467E168046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2852" y="3919472"/>
            <a:ext cx="3529571" cy="589648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B15378BC-5548-4667-93C0-DD9D697C838A}" type="datetimeFigureOut">
              <a:rPr lang="en-US"/>
              <a:t>3/6/2024</a:t>
            </a:fld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1D9EF6-C0B2-4932-9F2F-7EBCEF7B31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0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19F596-05E3-44AB-BEC2-525D3E5EB60E}"/>
              </a:ext>
            </a:extLst>
          </p:cNvPr>
          <p:cNvCxnSpPr/>
          <p:nvPr/>
        </p:nvCxnSpPr>
        <p:spPr bwMode="gray">
          <a:xfrm>
            <a:off x="4331804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B6FAE3F-DF50-4F5D-A33B-7F9644FD4086}"/>
              </a:ext>
            </a:extLst>
          </p:cNvPr>
          <p:cNvCxnSpPr>
            <a:cxnSpLocks/>
          </p:cNvCxnSpPr>
          <p:nvPr/>
        </p:nvCxnSpPr>
        <p:spPr bwMode="gray">
          <a:xfrm>
            <a:off x="11604626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558267-B187-4531-BCCC-F83FA4CAA964}"/>
              </a:ext>
            </a:extLst>
          </p:cNvPr>
          <p:cNvCxnSpPr/>
          <p:nvPr/>
        </p:nvCxnSpPr>
        <p:spPr bwMode="gray">
          <a:xfrm>
            <a:off x="6204012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766BB2-DB3D-4AE7-85BC-A9F0D2529F08}"/>
              </a:ext>
            </a:extLst>
          </p:cNvPr>
          <p:cNvCxnSpPr/>
          <p:nvPr/>
        </p:nvCxnSpPr>
        <p:spPr bwMode="gray">
          <a:xfrm>
            <a:off x="411578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E3C6509-678A-481D-AC02-D2722AEAE8EE}"/>
              </a:ext>
            </a:extLst>
          </p:cNvPr>
          <p:cNvCxnSpPr/>
          <p:nvPr/>
        </p:nvCxnSpPr>
        <p:spPr bwMode="gray">
          <a:xfrm>
            <a:off x="807622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0331AD-31BE-48EC-A28C-7312CB5C917B}"/>
              </a:ext>
            </a:extLst>
          </p:cNvPr>
          <p:cNvCxnSpPr/>
          <p:nvPr/>
        </p:nvCxnSpPr>
        <p:spPr bwMode="gray">
          <a:xfrm>
            <a:off x="7860196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F1F113-7125-4472-895A-085A88F45A97}"/>
              </a:ext>
            </a:extLst>
          </p:cNvPr>
          <p:cNvCxnSpPr/>
          <p:nvPr/>
        </p:nvCxnSpPr>
        <p:spPr bwMode="gray">
          <a:xfrm>
            <a:off x="-168000" y="612930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C0A000A-F87F-4C42-A9AA-20CAD0E07E37}"/>
              </a:ext>
            </a:extLst>
          </p:cNvPr>
          <p:cNvCxnSpPr/>
          <p:nvPr/>
        </p:nvCxnSpPr>
        <p:spPr bwMode="gray">
          <a:xfrm>
            <a:off x="-168000" y="1700808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B9062C-1B9D-42DC-9F72-885BC17B7A30}"/>
              </a:ext>
            </a:extLst>
          </p:cNvPr>
          <p:cNvCxnSpPr/>
          <p:nvPr/>
        </p:nvCxnSpPr>
        <p:spPr bwMode="gray">
          <a:xfrm>
            <a:off x="-168000" y="36866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16B3DF8-8E73-4629-8416-3164F44999CE}"/>
              </a:ext>
            </a:extLst>
          </p:cNvPr>
          <p:cNvCxnSpPr>
            <a:cxnSpLocks/>
          </p:cNvCxnSpPr>
          <p:nvPr/>
        </p:nvCxnSpPr>
        <p:spPr bwMode="gray">
          <a:xfrm>
            <a:off x="587375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2ADCE2D-DC10-46C8-AEC3-E40ACA3C27FF}"/>
              </a:ext>
            </a:extLst>
          </p:cNvPr>
          <p:cNvCxnSpPr/>
          <p:nvPr/>
        </p:nvCxnSpPr>
        <p:spPr bwMode="gray">
          <a:xfrm>
            <a:off x="5987988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89E88-C154-435E-8232-5EB90B965D97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11927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286" imgH="286" progId="TCLayout.ActiveDocument.1">
                  <p:embed/>
                </p:oleObj>
              </mc:Choice>
              <mc:Fallback>
                <p:oleObj name="think-cell Folie" r:id="rId21" imgW="286" imgH="28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89E88-C154-435E-8232-5EB90B965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63CA78-0FB3-48B5-A9D7-A04CC8D648A5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FontTx/>
              <a:buNone/>
            </a:pPr>
            <a:endParaRPr lang="en-US" sz="3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B26C2F-D9F3-400B-A4CB-4A13AFC350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88" y="368300"/>
            <a:ext cx="11017224" cy="934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F1E4DB-B8AA-4767-B630-DDDF47F8E9B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88" y="1916112"/>
            <a:ext cx="11017224" cy="4213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EBB2EE60-53AE-47EF-9F98-08E3D8665809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3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9E1E866A-F452-4705-83EB-833A7E98217A}"/>
              </a:ext>
            </a:extLst>
          </p:cNvPr>
          <p:cNvSpPr txBox="1"/>
          <p:nvPr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  <p:sp>
        <p:nvSpPr>
          <p:cNvPr id="22" name="Datumsplatzhalter 5">
            <a:extLst>
              <a:ext uri="{FF2B5EF4-FFF2-40B4-BE49-F238E27FC236}">
                <a16:creationId xmlns:a16="http://schemas.microsoft.com/office/drawing/2014/main" id="{7D269058-5EB7-5E49-625A-4B9BC52E31F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221773" y="6381352"/>
            <a:ext cx="2382839" cy="216000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78CC8BF-720B-4F20-9B1C-1F94C4C8A65A}" type="datetime1">
              <a:rPr lang="en-US" smtClean="0"/>
              <a:pPr/>
              <a:t>3/6/2024</a:t>
            </a:fld>
            <a:endParaRPr lang="en-US"/>
          </a:p>
        </p:txBody>
      </p:sp>
      <p:sp>
        <p:nvSpPr>
          <p:cNvPr id="24" name="Fußzeilenplatzhalter 6">
            <a:extLst>
              <a:ext uri="{FF2B5EF4-FFF2-40B4-BE49-F238E27FC236}">
                <a16:creationId xmlns:a16="http://schemas.microsoft.com/office/drawing/2014/main" id="{C445C972-594C-637E-5F83-D672C180F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7388" y="6381353"/>
            <a:ext cx="2484276" cy="215999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Foliennummernplatzhalter 8">
            <a:extLst>
              <a:ext uri="{FF2B5EF4-FFF2-40B4-BE49-F238E27FC236}">
                <a16:creationId xmlns:a16="http://schemas.microsoft.com/office/drawing/2014/main" id="{9FB2B16C-379A-9657-8123-6DC05F25F7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806768" y="6381352"/>
            <a:ext cx="576064" cy="216000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703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9" r:id="rId8"/>
    <p:sldLayoutId id="2147483782" r:id="rId9"/>
    <p:sldLayoutId id="2147483783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370">
          <p15:clr>
            <a:srgbClr val="F26B43"/>
          </p15:clr>
        </p15:guide>
        <p15:guide id="3" pos="7310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5.emf"/><Relationship Id="rId4" Type="http://schemas.openxmlformats.org/officeDocument/2006/relationships/tags" Target="../tags/tag23.xml"/><Relationship Id="rId9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8.xml"/><Relationship Id="rId7" Type="http://schemas.openxmlformats.org/officeDocument/2006/relationships/image" Target="../media/image5.emf"/><Relationship Id="rId12" Type="http://schemas.openxmlformats.org/officeDocument/2006/relationships/image" Target="../media/image2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1.xml"/><Relationship Id="rId7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057247B-0A14-439E-FEAC-94167F320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6389934" cy="1296144"/>
          </a:xfrm>
        </p:spPr>
        <p:txBody>
          <a:bodyPr/>
          <a:lstStyle/>
          <a:p>
            <a:r>
              <a:rPr lang="en-US">
                <a:cs typeface="Arial"/>
              </a:rPr>
              <a:t>Clearstream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Market Partnership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9164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80BB1A20-854F-45E7-9C19-8D491B4AA25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 wrap="square">
            <a:noAutofit/>
          </a:bodyPr>
          <a:lstStyle/>
          <a:p>
            <a:r>
              <a:rPr lang="en-GB"/>
              <a:t>Significant Trends Shaping the Future Post-trade Industry</a:t>
            </a:r>
            <a:endParaRPr lang="en-US"/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FF18EE13-4240-455C-8D03-FBB2A2C27705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884980136"/>
              </p:ext>
            </p:extLst>
          </p:nvPr>
        </p:nvGraphicFramePr>
        <p:xfrm>
          <a:off x="2170397" y="1490562"/>
          <a:ext cx="7344832" cy="4645026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672416">
                  <a:extLst>
                    <a:ext uri="{9D8B030D-6E8A-4147-A177-3AD203B41FA5}">
                      <a16:colId xmlns:a16="http://schemas.microsoft.com/office/drawing/2014/main" val="4111588182"/>
                    </a:ext>
                  </a:extLst>
                </a:gridCol>
                <a:gridCol w="3672416">
                  <a:extLst>
                    <a:ext uri="{9D8B030D-6E8A-4147-A177-3AD203B41FA5}">
                      <a16:colId xmlns:a16="http://schemas.microsoft.com/office/drawing/2014/main" val="4093775732"/>
                    </a:ext>
                  </a:extLst>
                </a:gridCol>
              </a:tblGrid>
              <a:tr h="2322513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800" b="1" noProof="0">
                          <a:solidFill>
                            <a:schemeClr val="tx1"/>
                          </a:solidFill>
                        </a:rPr>
                        <a:t>Increasing pace of technological disruption</a:t>
                      </a:r>
                      <a:endParaRPr lang="en-US" sz="1600" b="0" noProof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>
                          <a:solidFill>
                            <a:schemeClr val="tx1"/>
                          </a:solidFill>
                        </a:rPr>
                        <a:t>Cost pressure requiring scale and technological capability</a:t>
                      </a:r>
                      <a:endParaRPr lang="en-US" sz="1600" b="0" noProof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3163880"/>
                  </a:ext>
                </a:extLst>
              </a:tr>
              <a:tr h="2322513">
                <a:tc>
                  <a:txBody>
                    <a:bodyPr/>
                    <a:lstStyle/>
                    <a:p>
                      <a:pPr lvl="0" algn="ctr">
                        <a:spcAft>
                          <a:spcPts val="600"/>
                        </a:spcAft>
                        <a:buNone/>
                      </a:pPr>
                      <a:r>
                        <a:rPr lang="en-US" sz="1800" b="1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DeFi business models receive regulatory attention</a:t>
                      </a:r>
                      <a:endParaRPr lang="en-US"/>
                    </a:p>
                  </a:txBody>
                  <a:tcPr marT="12801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800" b="1" noProof="0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en-US" sz="1800" b="1" i="0" u="none" strike="noStrike" noProof="0">
                          <a:solidFill>
                            <a:schemeClr val="tx1"/>
                          </a:solidFill>
                          <a:latin typeface="Arial"/>
                        </a:rPr>
                        <a:t>Industry partnerships to create E2E efficiencies</a:t>
                      </a:r>
                      <a:endParaRPr lang="en-US" sz="1600" b="0" noProof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6290595"/>
                  </a:ext>
                </a:extLst>
              </a:tr>
            </a:tbl>
          </a:graphicData>
        </a:graphic>
      </p:graphicFrame>
      <p:sp>
        <p:nvSpPr>
          <p:cNvPr id="19" name="System">
            <a:extLst>
              <a:ext uri="{FF2B5EF4-FFF2-40B4-BE49-F238E27FC236}">
                <a16:creationId xmlns:a16="http://schemas.microsoft.com/office/drawing/2014/main" id="{77715602-3C1E-48EB-980C-714C776B475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611954" y="4024158"/>
            <a:ext cx="836777" cy="731520"/>
          </a:xfrm>
          <a:custGeom>
            <a:avLst/>
            <a:gdLst>
              <a:gd name="connsiteX0" fmla="*/ 416478 w 507556"/>
              <a:gd name="connsiteY0" fmla="*/ 222893 h 443710"/>
              <a:gd name="connsiteX1" fmla="*/ 427756 w 507556"/>
              <a:gd name="connsiteY1" fmla="*/ 217968 h 443710"/>
              <a:gd name="connsiteX2" fmla="*/ 438186 w 507556"/>
              <a:gd name="connsiteY2" fmla="*/ 222045 h 443710"/>
              <a:gd name="connsiteX3" fmla="*/ 439033 w 507556"/>
              <a:gd name="connsiteY3" fmla="*/ 243743 h 443710"/>
              <a:gd name="connsiteX4" fmla="*/ 417326 w 507556"/>
              <a:gd name="connsiteY4" fmla="*/ 244600 h 443710"/>
              <a:gd name="connsiteX5" fmla="*/ 412411 w 507556"/>
              <a:gd name="connsiteY5" fmla="*/ 233922 h 443710"/>
              <a:gd name="connsiteX6" fmla="*/ 416478 w 507556"/>
              <a:gd name="connsiteY6" fmla="*/ 222893 h 443710"/>
              <a:gd name="connsiteX7" fmla="*/ 416478 w 507556"/>
              <a:gd name="connsiteY7" fmla="*/ 222893 h 443710"/>
              <a:gd name="connsiteX8" fmla="*/ 426851 w 507556"/>
              <a:gd name="connsiteY8" fmla="*/ 370330 h 443710"/>
              <a:gd name="connsiteX9" fmla="*/ 427622 w 507556"/>
              <a:gd name="connsiteY9" fmla="*/ 370311 h 443710"/>
              <a:gd name="connsiteX10" fmla="*/ 447025 w 507556"/>
              <a:gd name="connsiteY10" fmla="*/ 388980 h 443710"/>
              <a:gd name="connsiteX11" fmla="*/ 428365 w 507556"/>
              <a:gd name="connsiteY11" fmla="*/ 409173 h 443710"/>
              <a:gd name="connsiteX12" fmla="*/ 414402 w 507556"/>
              <a:gd name="connsiteY12" fmla="*/ 404010 h 443710"/>
              <a:gd name="connsiteX13" fmla="*/ 408172 w 507556"/>
              <a:gd name="connsiteY13" fmla="*/ 390494 h 443710"/>
              <a:gd name="connsiteX14" fmla="*/ 426851 w 507556"/>
              <a:gd name="connsiteY14" fmla="*/ 370330 h 443710"/>
              <a:gd name="connsiteX15" fmla="*/ 426851 w 507556"/>
              <a:gd name="connsiteY15" fmla="*/ 370330 h 443710"/>
              <a:gd name="connsiteX16" fmla="*/ 232246 w 507556"/>
              <a:gd name="connsiteY16" fmla="*/ 233351 h 443710"/>
              <a:gd name="connsiteX17" fmla="*/ 273517 w 507556"/>
              <a:gd name="connsiteY17" fmla="*/ 192108 h 443710"/>
              <a:gd name="connsiteX18" fmla="*/ 314751 w 507556"/>
              <a:gd name="connsiteY18" fmla="*/ 233351 h 443710"/>
              <a:gd name="connsiteX19" fmla="*/ 273517 w 507556"/>
              <a:gd name="connsiteY19" fmla="*/ 274623 h 443710"/>
              <a:gd name="connsiteX20" fmla="*/ 232246 w 507556"/>
              <a:gd name="connsiteY20" fmla="*/ 233351 h 443710"/>
              <a:gd name="connsiteX21" fmla="*/ 232246 w 507556"/>
              <a:gd name="connsiteY21" fmla="*/ 233351 h 443710"/>
              <a:gd name="connsiteX22" fmla="*/ 171124 w 507556"/>
              <a:gd name="connsiteY22" fmla="*/ 338250 h 443710"/>
              <a:gd name="connsiteX23" fmla="*/ 165952 w 507556"/>
              <a:gd name="connsiteY23" fmla="*/ 336335 h 443710"/>
              <a:gd name="connsiteX24" fmla="*/ 163647 w 507556"/>
              <a:gd name="connsiteY24" fmla="*/ 331325 h 443710"/>
              <a:gd name="connsiteX25" fmla="*/ 170562 w 507556"/>
              <a:gd name="connsiteY25" fmla="*/ 323838 h 443710"/>
              <a:gd name="connsiteX26" fmla="*/ 178048 w 507556"/>
              <a:gd name="connsiteY26" fmla="*/ 330763 h 443710"/>
              <a:gd name="connsiteX27" fmla="*/ 171124 w 507556"/>
              <a:gd name="connsiteY27" fmla="*/ 338250 h 443710"/>
              <a:gd name="connsiteX28" fmla="*/ 171124 w 507556"/>
              <a:gd name="connsiteY28" fmla="*/ 338250 h 443710"/>
              <a:gd name="connsiteX29" fmla="*/ 54081 w 507556"/>
              <a:gd name="connsiteY29" fmla="*/ 240038 h 443710"/>
              <a:gd name="connsiteX30" fmla="*/ 46241 w 507556"/>
              <a:gd name="connsiteY30" fmla="*/ 243648 h 443710"/>
              <a:gd name="connsiteX31" fmla="*/ 38145 w 507556"/>
              <a:gd name="connsiteY31" fmla="*/ 240657 h 443710"/>
              <a:gd name="connsiteX32" fmla="*/ 34526 w 507556"/>
              <a:gd name="connsiteY32" fmla="*/ 232808 h 443710"/>
              <a:gd name="connsiteX33" fmla="*/ 37517 w 507556"/>
              <a:gd name="connsiteY33" fmla="*/ 224712 h 443710"/>
              <a:gd name="connsiteX34" fmla="*/ 45365 w 507556"/>
              <a:gd name="connsiteY34" fmla="*/ 221102 h 443710"/>
              <a:gd name="connsiteX35" fmla="*/ 53471 w 507556"/>
              <a:gd name="connsiteY35" fmla="*/ 224093 h 443710"/>
              <a:gd name="connsiteX36" fmla="*/ 54081 w 507556"/>
              <a:gd name="connsiteY36" fmla="*/ 240038 h 443710"/>
              <a:gd name="connsiteX37" fmla="*/ 54081 w 507556"/>
              <a:gd name="connsiteY37" fmla="*/ 240038 h 443710"/>
              <a:gd name="connsiteX38" fmla="*/ 154560 w 507556"/>
              <a:gd name="connsiteY38" fmla="*/ 139844 h 443710"/>
              <a:gd name="connsiteX39" fmla="*/ 137681 w 507556"/>
              <a:gd name="connsiteY39" fmla="*/ 133605 h 443710"/>
              <a:gd name="connsiteX40" fmla="*/ 130147 w 507556"/>
              <a:gd name="connsiteY40" fmla="*/ 117251 h 443710"/>
              <a:gd name="connsiteX41" fmla="*/ 136377 w 507556"/>
              <a:gd name="connsiteY41" fmla="*/ 100382 h 443710"/>
              <a:gd name="connsiteX42" fmla="*/ 152721 w 507556"/>
              <a:gd name="connsiteY42" fmla="*/ 92857 h 443710"/>
              <a:gd name="connsiteX43" fmla="*/ 177144 w 507556"/>
              <a:gd name="connsiteY43" fmla="*/ 115422 h 443710"/>
              <a:gd name="connsiteX44" fmla="*/ 170905 w 507556"/>
              <a:gd name="connsiteY44" fmla="*/ 132310 h 443710"/>
              <a:gd name="connsiteX45" fmla="*/ 154560 w 507556"/>
              <a:gd name="connsiteY45" fmla="*/ 139844 h 443710"/>
              <a:gd name="connsiteX46" fmla="*/ 154560 w 507556"/>
              <a:gd name="connsiteY46" fmla="*/ 139844 h 443710"/>
              <a:gd name="connsiteX47" fmla="*/ 425194 w 507556"/>
              <a:gd name="connsiteY47" fmla="*/ 43384 h 443710"/>
              <a:gd name="connsiteX48" fmla="*/ 444386 w 507556"/>
              <a:gd name="connsiteY48" fmla="*/ 34545 h 443710"/>
              <a:gd name="connsiteX49" fmla="*/ 445482 w 507556"/>
              <a:gd name="connsiteY49" fmla="*/ 34526 h 443710"/>
              <a:gd name="connsiteX50" fmla="*/ 464179 w 507556"/>
              <a:gd name="connsiteY50" fmla="*/ 41860 h 443710"/>
              <a:gd name="connsiteX51" fmla="*/ 473019 w 507556"/>
              <a:gd name="connsiteY51" fmla="*/ 61034 h 443710"/>
              <a:gd name="connsiteX52" fmla="*/ 446530 w 507556"/>
              <a:gd name="connsiteY52" fmla="*/ 89695 h 443710"/>
              <a:gd name="connsiteX53" fmla="*/ 426718 w 507556"/>
              <a:gd name="connsiteY53" fmla="*/ 82370 h 443710"/>
              <a:gd name="connsiteX54" fmla="*/ 417869 w 507556"/>
              <a:gd name="connsiteY54" fmla="*/ 63177 h 443710"/>
              <a:gd name="connsiteX55" fmla="*/ 425194 w 507556"/>
              <a:gd name="connsiteY55" fmla="*/ 43384 h 443710"/>
              <a:gd name="connsiteX56" fmla="*/ 425194 w 507556"/>
              <a:gd name="connsiteY56" fmla="*/ 43384 h 443710"/>
              <a:gd name="connsiteX57" fmla="*/ 336297 w 507556"/>
              <a:gd name="connsiteY57" fmla="*/ 191003 h 443710"/>
              <a:gd name="connsiteX58" fmla="*/ 412040 w 507556"/>
              <a:gd name="connsiteY58" fmla="*/ 114489 h 443710"/>
              <a:gd name="connsiteX59" fmla="*/ 445396 w 507556"/>
              <a:gd name="connsiteY59" fmla="*/ 124252 h 443710"/>
              <a:gd name="connsiteX60" fmla="*/ 447873 w 507556"/>
              <a:gd name="connsiteY60" fmla="*/ 124204 h 443710"/>
              <a:gd name="connsiteX61" fmla="*/ 507509 w 507556"/>
              <a:gd name="connsiteY61" fmla="*/ 59701 h 443710"/>
              <a:gd name="connsiteX62" fmla="*/ 487620 w 507556"/>
              <a:gd name="connsiteY62" fmla="*/ 16524 h 443710"/>
              <a:gd name="connsiteX63" fmla="*/ 443034 w 507556"/>
              <a:gd name="connsiteY63" fmla="*/ 55 h 443710"/>
              <a:gd name="connsiteX64" fmla="*/ 399848 w 507556"/>
              <a:gd name="connsiteY64" fmla="*/ 19943 h 443710"/>
              <a:gd name="connsiteX65" fmla="*/ 383369 w 507556"/>
              <a:gd name="connsiteY65" fmla="*/ 64539 h 443710"/>
              <a:gd name="connsiteX66" fmla="*/ 392008 w 507556"/>
              <a:gd name="connsiteY66" fmla="*/ 93829 h 443710"/>
              <a:gd name="connsiteX67" fmla="*/ 315970 w 507556"/>
              <a:gd name="connsiteY67" fmla="*/ 170648 h 443710"/>
              <a:gd name="connsiteX68" fmla="*/ 273508 w 507556"/>
              <a:gd name="connsiteY68" fmla="*/ 157599 h 443710"/>
              <a:gd name="connsiteX69" fmla="*/ 229817 w 507556"/>
              <a:gd name="connsiteY69" fmla="*/ 171515 h 443710"/>
              <a:gd name="connsiteX70" fmla="*/ 203661 w 507556"/>
              <a:gd name="connsiteY70" fmla="*/ 145778 h 443710"/>
              <a:gd name="connsiteX71" fmla="*/ 211643 w 507556"/>
              <a:gd name="connsiteY71" fmla="*/ 114098 h 443710"/>
              <a:gd name="connsiteX72" fmla="*/ 151378 w 507556"/>
              <a:gd name="connsiteY72" fmla="*/ 58377 h 443710"/>
              <a:gd name="connsiteX73" fmla="*/ 111040 w 507556"/>
              <a:gd name="connsiteY73" fmla="*/ 76951 h 443710"/>
              <a:gd name="connsiteX74" fmla="*/ 95657 w 507556"/>
              <a:gd name="connsiteY74" fmla="*/ 118613 h 443710"/>
              <a:gd name="connsiteX75" fmla="*/ 114231 w 507556"/>
              <a:gd name="connsiteY75" fmla="*/ 158961 h 443710"/>
              <a:gd name="connsiteX76" fmla="*/ 153588 w 507556"/>
              <a:gd name="connsiteY76" fmla="*/ 174401 h 443710"/>
              <a:gd name="connsiteX77" fmla="*/ 155893 w 507556"/>
              <a:gd name="connsiteY77" fmla="*/ 174353 h 443710"/>
              <a:gd name="connsiteX78" fmla="*/ 183382 w 507556"/>
              <a:gd name="connsiteY78" fmla="*/ 166200 h 443710"/>
              <a:gd name="connsiteX79" fmla="*/ 209881 w 507556"/>
              <a:gd name="connsiteY79" fmla="*/ 192270 h 443710"/>
              <a:gd name="connsiteX80" fmla="*/ 199003 w 507556"/>
              <a:gd name="connsiteY80" fmla="*/ 219502 h 443710"/>
              <a:gd name="connsiteX81" fmla="*/ 89533 w 507556"/>
              <a:gd name="connsiteY81" fmla="*/ 218892 h 443710"/>
              <a:gd name="connsiteX82" fmla="*/ 76921 w 507556"/>
              <a:gd name="connsiteY82" fmla="*/ 198737 h 443710"/>
              <a:gd name="connsiteX83" fmla="*/ 44022 w 507556"/>
              <a:gd name="connsiteY83" fmla="*/ 186593 h 443710"/>
              <a:gd name="connsiteX84" fmla="*/ 12180 w 507556"/>
              <a:gd name="connsiteY84" fmla="*/ 201261 h 443710"/>
              <a:gd name="connsiteX85" fmla="*/ 36 w 507556"/>
              <a:gd name="connsiteY85" fmla="*/ 234151 h 443710"/>
              <a:gd name="connsiteX86" fmla="*/ 14704 w 507556"/>
              <a:gd name="connsiteY86" fmla="*/ 265993 h 443710"/>
              <a:gd name="connsiteX87" fmla="*/ 45765 w 507556"/>
              <a:gd name="connsiteY87" fmla="*/ 278176 h 443710"/>
              <a:gd name="connsiteX88" fmla="*/ 47584 w 507556"/>
              <a:gd name="connsiteY88" fmla="*/ 278138 h 443710"/>
              <a:gd name="connsiteX89" fmla="*/ 79427 w 507556"/>
              <a:gd name="connsiteY89" fmla="*/ 263479 h 443710"/>
              <a:gd name="connsiteX90" fmla="*/ 88971 w 507556"/>
              <a:gd name="connsiteY90" fmla="*/ 247667 h 443710"/>
              <a:gd name="connsiteX91" fmla="*/ 199203 w 507556"/>
              <a:gd name="connsiteY91" fmla="*/ 248267 h 443710"/>
              <a:gd name="connsiteX92" fmla="*/ 210176 w 507556"/>
              <a:gd name="connsiteY92" fmla="*/ 274918 h 443710"/>
              <a:gd name="connsiteX93" fmla="*/ 190879 w 507556"/>
              <a:gd name="connsiteY93" fmla="*/ 294530 h 443710"/>
              <a:gd name="connsiteX94" fmla="*/ 169219 w 507556"/>
              <a:gd name="connsiteY94" fmla="*/ 289358 h 443710"/>
              <a:gd name="connsiteX95" fmla="*/ 129157 w 507556"/>
              <a:gd name="connsiteY95" fmla="*/ 332687 h 443710"/>
              <a:gd name="connsiteX96" fmla="*/ 142511 w 507556"/>
              <a:gd name="connsiteY96" fmla="*/ 361691 h 443710"/>
              <a:gd name="connsiteX97" fmla="*/ 170800 w 507556"/>
              <a:gd name="connsiteY97" fmla="*/ 372788 h 443710"/>
              <a:gd name="connsiteX98" fmla="*/ 172467 w 507556"/>
              <a:gd name="connsiteY98" fmla="*/ 372749 h 443710"/>
              <a:gd name="connsiteX99" fmla="*/ 212538 w 507556"/>
              <a:gd name="connsiteY99" fmla="*/ 329430 h 443710"/>
              <a:gd name="connsiteX100" fmla="*/ 209833 w 507556"/>
              <a:gd name="connsiteY100" fmla="*/ 316285 h 443710"/>
              <a:gd name="connsiteX101" fmla="*/ 230245 w 507556"/>
              <a:gd name="connsiteY101" fmla="*/ 295540 h 443710"/>
              <a:gd name="connsiteX102" fmla="*/ 273498 w 507556"/>
              <a:gd name="connsiteY102" fmla="*/ 309151 h 443710"/>
              <a:gd name="connsiteX103" fmla="*/ 315732 w 507556"/>
              <a:gd name="connsiteY103" fmla="*/ 296254 h 443710"/>
              <a:gd name="connsiteX104" fmla="*/ 381159 w 507556"/>
              <a:gd name="connsiteY104" fmla="*/ 362396 h 443710"/>
              <a:gd name="connsiteX105" fmla="*/ 373682 w 507556"/>
              <a:gd name="connsiteY105" fmla="*/ 391847 h 443710"/>
              <a:gd name="connsiteX106" fmla="*/ 390970 w 507556"/>
              <a:gd name="connsiteY106" fmla="*/ 429366 h 443710"/>
              <a:gd name="connsiteX107" fmla="*/ 427565 w 507556"/>
              <a:gd name="connsiteY107" fmla="*/ 443711 h 443710"/>
              <a:gd name="connsiteX108" fmla="*/ 429718 w 507556"/>
              <a:gd name="connsiteY108" fmla="*/ 443673 h 443710"/>
              <a:gd name="connsiteX109" fmla="*/ 481524 w 507556"/>
              <a:gd name="connsiteY109" fmla="*/ 387647 h 443710"/>
              <a:gd name="connsiteX110" fmla="*/ 425508 w 507556"/>
              <a:gd name="connsiteY110" fmla="*/ 335830 h 443710"/>
              <a:gd name="connsiteX111" fmla="*/ 401857 w 507556"/>
              <a:gd name="connsiteY111" fmla="*/ 342403 h 443710"/>
              <a:gd name="connsiteX112" fmla="*/ 336135 w 507556"/>
              <a:gd name="connsiteY112" fmla="*/ 275947 h 443710"/>
              <a:gd name="connsiteX113" fmla="*/ 347812 w 507556"/>
              <a:gd name="connsiteY113" fmla="*/ 248134 h 443710"/>
              <a:gd name="connsiteX114" fmla="*/ 380083 w 507556"/>
              <a:gd name="connsiteY114" fmla="*/ 247877 h 443710"/>
              <a:gd name="connsiteX115" fmla="*/ 393885 w 507556"/>
              <a:gd name="connsiteY115" fmla="*/ 269946 h 443710"/>
              <a:gd name="connsiteX116" fmla="*/ 427727 w 507556"/>
              <a:gd name="connsiteY116" fmla="*/ 283186 h 443710"/>
              <a:gd name="connsiteX117" fmla="*/ 464379 w 507556"/>
              <a:gd name="connsiteY117" fmla="*/ 267193 h 443710"/>
              <a:gd name="connsiteX118" fmla="*/ 464389 w 507556"/>
              <a:gd name="connsiteY118" fmla="*/ 267193 h 443710"/>
              <a:gd name="connsiteX119" fmla="*/ 461646 w 507556"/>
              <a:gd name="connsiteY119" fmla="*/ 196708 h 443710"/>
              <a:gd name="connsiteX120" fmla="*/ 391151 w 507556"/>
              <a:gd name="connsiteY120" fmla="*/ 199452 h 443710"/>
              <a:gd name="connsiteX121" fmla="*/ 379978 w 507556"/>
              <a:gd name="connsiteY121" fmla="*/ 219111 h 443710"/>
              <a:gd name="connsiteX122" fmla="*/ 347965 w 507556"/>
              <a:gd name="connsiteY122" fmla="*/ 219368 h 443710"/>
              <a:gd name="connsiteX123" fmla="*/ 336297 w 507556"/>
              <a:gd name="connsiteY123" fmla="*/ 191003 h 443710"/>
              <a:gd name="connsiteX124" fmla="*/ 336297 w 507556"/>
              <a:gd name="connsiteY124" fmla="*/ 191003 h 443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507556" h="443710">
                <a:moveTo>
                  <a:pt x="416478" y="222893"/>
                </a:moveTo>
                <a:cubicBezTo>
                  <a:pt x="419498" y="219626"/>
                  <a:pt x="423622" y="217968"/>
                  <a:pt x="427756" y="217968"/>
                </a:cubicBezTo>
                <a:cubicBezTo>
                  <a:pt x="431490" y="217968"/>
                  <a:pt x="435233" y="219321"/>
                  <a:pt x="438186" y="222045"/>
                </a:cubicBezTo>
                <a:cubicBezTo>
                  <a:pt x="444396" y="227798"/>
                  <a:pt x="444777" y="237523"/>
                  <a:pt x="439033" y="243743"/>
                </a:cubicBezTo>
                <a:cubicBezTo>
                  <a:pt x="433280" y="249963"/>
                  <a:pt x="423536" y="250353"/>
                  <a:pt x="417326" y="244600"/>
                </a:cubicBezTo>
                <a:cubicBezTo>
                  <a:pt x="414316" y="241819"/>
                  <a:pt x="412573" y="238018"/>
                  <a:pt x="412411" y="233922"/>
                </a:cubicBezTo>
                <a:cubicBezTo>
                  <a:pt x="412249" y="229827"/>
                  <a:pt x="413697" y="225902"/>
                  <a:pt x="416478" y="222893"/>
                </a:cubicBezTo>
                <a:lnTo>
                  <a:pt x="416478" y="222893"/>
                </a:lnTo>
                <a:close/>
                <a:moveTo>
                  <a:pt x="426851" y="370330"/>
                </a:moveTo>
                <a:lnTo>
                  <a:pt x="427622" y="370311"/>
                </a:lnTo>
                <a:cubicBezTo>
                  <a:pt x="437986" y="370311"/>
                  <a:pt x="446615" y="378531"/>
                  <a:pt x="447025" y="388980"/>
                </a:cubicBezTo>
                <a:cubicBezTo>
                  <a:pt x="447434" y="399696"/>
                  <a:pt x="439072" y="408754"/>
                  <a:pt x="428365" y="409173"/>
                </a:cubicBezTo>
                <a:cubicBezTo>
                  <a:pt x="423165" y="409354"/>
                  <a:pt x="418221" y="407544"/>
                  <a:pt x="414402" y="404010"/>
                </a:cubicBezTo>
                <a:cubicBezTo>
                  <a:pt x="410592" y="400486"/>
                  <a:pt x="408382" y="395686"/>
                  <a:pt x="408172" y="390494"/>
                </a:cubicBezTo>
                <a:cubicBezTo>
                  <a:pt x="407763" y="379798"/>
                  <a:pt x="416145" y="370749"/>
                  <a:pt x="426851" y="370330"/>
                </a:cubicBezTo>
                <a:lnTo>
                  <a:pt x="426851" y="370330"/>
                </a:lnTo>
                <a:close/>
                <a:moveTo>
                  <a:pt x="232246" y="233351"/>
                </a:moveTo>
                <a:cubicBezTo>
                  <a:pt x="232246" y="210605"/>
                  <a:pt x="250762" y="192108"/>
                  <a:pt x="273517" y="192108"/>
                </a:cubicBezTo>
                <a:cubicBezTo>
                  <a:pt x="296254" y="192108"/>
                  <a:pt x="314751" y="210605"/>
                  <a:pt x="314751" y="233351"/>
                </a:cubicBezTo>
                <a:cubicBezTo>
                  <a:pt x="314751" y="256106"/>
                  <a:pt x="296254" y="274623"/>
                  <a:pt x="273517" y="274623"/>
                </a:cubicBezTo>
                <a:cubicBezTo>
                  <a:pt x="250762" y="274623"/>
                  <a:pt x="232246" y="256106"/>
                  <a:pt x="232246" y="233351"/>
                </a:cubicBezTo>
                <a:lnTo>
                  <a:pt x="232246" y="233351"/>
                </a:lnTo>
                <a:close/>
                <a:moveTo>
                  <a:pt x="171124" y="338250"/>
                </a:moveTo>
                <a:cubicBezTo>
                  <a:pt x="168552" y="338355"/>
                  <a:pt x="166771" y="337097"/>
                  <a:pt x="165952" y="336335"/>
                </a:cubicBezTo>
                <a:cubicBezTo>
                  <a:pt x="165133" y="335583"/>
                  <a:pt x="163751" y="333926"/>
                  <a:pt x="163647" y="331325"/>
                </a:cubicBezTo>
                <a:cubicBezTo>
                  <a:pt x="163485" y="327353"/>
                  <a:pt x="166590" y="323991"/>
                  <a:pt x="170562" y="323838"/>
                </a:cubicBezTo>
                <a:cubicBezTo>
                  <a:pt x="174448" y="323648"/>
                  <a:pt x="177886" y="326791"/>
                  <a:pt x="178048" y="330763"/>
                </a:cubicBezTo>
                <a:cubicBezTo>
                  <a:pt x="178210" y="334745"/>
                  <a:pt x="175096" y="338098"/>
                  <a:pt x="171124" y="338250"/>
                </a:cubicBezTo>
                <a:lnTo>
                  <a:pt x="171124" y="338250"/>
                </a:lnTo>
                <a:close/>
                <a:moveTo>
                  <a:pt x="54081" y="240038"/>
                </a:moveTo>
                <a:cubicBezTo>
                  <a:pt x="52033" y="242247"/>
                  <a:pt x="49251" y="243524"/>
                  <a:pt x="46241" y="243648"/>
                </a:cubicBezTo>
                <a:cubicBezTo>
                  <a:pt x="43298" y="243762"/>
                  <a:pt x="40355" y="242705"/>
                  <a:pt x="38145" y="240657"/>
                </a:cubicBezTo>
                <a:cubicBezTo>
                  <a:pt x="35935" y="238609"/>
                  <a:pt x="34640" y="235818"/>
                  <a:pt x="34526" y="232808"/>
                </a:cubicBezTo>
                <a:cubicBezTo>
                  <a:pt x="34411" y="229798"/>
                  <a:pt x="35469" y="226931"/>
                  <a:pt x="37517" y="224712"/>
                </a:cubicBezTo>
                <a:cubicBezTo>
                  <a:pt x="39564" y="222502"/>
                  <a:pt x="42346" y="221216"/>
                  <a:pt x="45365" y="221102"/>
                </a:cubicBezTo>
                <a:cubicBezTo>
                  <a:pt x="48413" y="220978"/>
                  <a:pt x="51261" y="222045"/>
                  <a:pt x="53471" y="224093"/>
                </a:cubicBezTo>
                <a:cubicBezTo>
                  <a:pt x="58033" y="228312"/>
                  <a:pt x="58310" y="235466"/>
                  <a:pt x="54081" y="240038"/>
                </a:cubicBezTo>
                <a:lnTo>
                  <a:pt x="54081" y="240038"/>
                </a:lnTo>
                <a:close/>
                <a:moveTo>
                  <a:pt x="154560" y="139844"/>
                </a:moveTo>
                <a:cubicBezTo>
                  <a:pt x="148264" y="140054"/>
                  <a:pt x="142301" y="137872"/>
                  <a:pt x="137681" y="133605"/>
                </a:cubicBezTo>
                <a:cubicBezTo>
                  <a:pt x="133071" y="129338"/>
                  <a:pt x="130395" y="123528"/>
                  <a:pt x="130147" y="117251"/>
                </a:cubicBezTo>
                <a:cubicBezTo>
                  <a:pt x="129900" y="110974"/>
                  <a:pt x="132109" y="104983"/>
                  <a:pt x="136377" y="100382"/>
                </a:cubicBezTo>
                <a:cubicBezTo>
                  <a:pt x="140644" y="95772"/>
                  <a:pt x="146444" y="93095"/>
                  <a:pt x="152721" y="92857"/>
                </a:cubicBezTo>
                <a:cubicBezTo>
                  <a:pt x="165799" y="92410"/>
                  <a:pt x="176639" y="102478"/>
                  <a:pt x="177144" y="115422"/>
                </a:cubicBezTo>
                <a:cubicBezTo>
                  <a:pt x="177391" y="121699"/>
                  <a:pt x="175172" y="127690"/>
                  <a:pt x="170905" y="132310"/>
                </a:cubicBezTo>
                <a:cubicBezTo>
                  <a:pt x="166647" y="136920"/>
                  <a:pt x="160837" y="139606"/>
                  <a:pt x="154560" y="139844"/>
                </a:cubicBezTo>
                <a:lnTo>
                  <a:pt x="154560" y="139844"/>
                </a:lnTo>
                <a:close/>
                <a:moveTo>
                  <a:pt x="425194" y="43384"/>
                </a:moveTo>
                <a:cubicBezTo>
                  <a:pt x="430204" y="37974"/>
                  <a:pt x="437014" y="34831"/>
                  <a:pt x="444386" y="34545"/>
                </a:cubicBezTo>
                <a:cubicBezTo>
                  <a:pt x="444758" y="34536"/>
                  <a:pt x="445120" y="34526"/>
                  <a:pt x="445482" y="34526"/>
                </a:cubicBezTo>
                <a:cubicBezTo>
                  <a:pt x="452445" y="34526"/>
                  <a:pt x="459045" y="37107"/>
                  <a:pt x="464179" y="41860"/>
                </a:cubicBezTo>
                <a:cubicBezTo>
                  <a:pt x="469590" y="46861"/>
                  <a:pt x="472723" y="53671"/>
                  <a:pt x="473019" y="61034"/>
                </a:cubicBezTo>
                <a:cubicBezTo>
                  <a:pt x="473609" y="76246"/>
                  <a:pt x="461722" y="89104"/>
                  <a:pt x="446530" y="89695"/>
                </a:cubicBezTo>
                <a:cubicBezTo>
                  <a:pt x="439148" y="89981"/>
                  <a:pt x="432128" y="87380"/>
                  <a:pt x="426718" y="82370"/>
                </a:cubicBezTo>
                <a:cubicBezTo>
                  <a:pt x="421298" y="77360"/>
                  <a:pt x="418155" y="70550"/>
                  <a:pt x="417869" y="63177"/>
                </a:cubicBezTo>
                <a:cubicBezTo>
                  <a:pt x="417583" y="55834"/>
                  <a:pt x="420183" y="48795"/>
                  <a:pt x="425194" y="43384"/>
                </a:cubicBezTo>
                <a:lnTo>
                  <a:pt x="425194" y="43384"/>
                </a:lnTo>
                <a:close/>
                <a:moveTo>
                  <a:pt x="336297" y="191003"/>
                </a:moveTo>
                <a:lnTo>
                  <a:pt x="412040" y="114489"/>
                </a:lnTo>
                <a:cubicBezTo>
                  <a:pt x="421955" y="120842"/>
                  <a:pt x="433442" y="124252"/>
                  <a:pt x="445396" y="124252"/>
                </a:cubicBezTo>
                <a:cubicBezTo>
                  <a:pt x="446215" y="124252"/>
                  <a:pt x="447044" y="124242"/>
                  <a:pt x="447873" y="124204"/>
                </a:cubicBezTo>
                <a:cubicBezTo>
                  <a:pt x="482086" y="122871"/>
                  <a:pt x="508842" y="93934"/>
                  <a:pt x="507509" y="59701"/>
                </a:cubicBezTo>
                <a:cubicBezTo>
                  <a:pt x="506861" y="43127"/>
                  <a:pt x="499803" y="27792"/>
                  <a:pt x="487620" y="16524"/>
                </a:cubicBezTo>
                <a:cubicBezTo>
                  <a:pt x="475438" y="5256"/>
                  <a:pt x="459626" y="-640"/>
                  <a:pt x="443034" y="55"/>
                </a:cubicBezTo>
                <a:cubicBezTo>
                  <a:pt x="426460" y="703"/>
                  <a:pt x="411125" y="7761"/>
                  <a:pt x="399848" y="19943"/>
                </a:cubicBezTo>
                <a:cubicBezTo>
                  <a:pt x="388580" y="32126"/>
                  <a:pt x="382722" y="47956"/>
                  <a:pt x="383369" y="64539"/>
                </a:cubicBezTo>
                <a:cubicBezTo>
                  <a:pt x="383779" y="75046"/>
                  <a:pt x="386779" y="85037"/>
                  <a:pt x="392008" y="93829"/>
                </a:cubicBezTo>
                <a:lnTo>
                  <a:pt x="315970" y="170648"/>
                </a:lnTo>
                <a:cubicBezTo>
                  <a:pt x="303855" y="162418"/>
                  <a:pt x="289234" y="157599"/>
                  <a:pt x="273508" y="157599"/>
                </a:cubicBezTo>
                <a:cubicBezTo>
                  <a:pt x="257249" y="157599"/>
                  <a:pt x="242171" y="162761"/>
                  <a:pt x="229817" y="171515"/>
                </a:cubicBezTo>
                <a:lnTo>
                  <a:pt x="203661" y="145778"/>
                </a:lnTo>
                <a:cubicBezTo>
                  <a:pt x="209271" y="136282"/>
                  <a:pt x="212091" y="125376"/>
                  <a:pt x="211643" y="114098"/>
                </a:cubicBezTo>
                <a:cubicBezTo>
                  <a:pt x="210405" y="82132"/>
                  <a:pt x="183411" y="57043"/>
                  <a:pt x="151378" y="58377"/>
                </a:cubicBezTo>
                <a:cubicBezTo>
                  <a:pt x="135891" y="58977"/>
                  <a:pt x="121565" y="65578"/>
                  <a:pt x="111040" y="76951"/>
                </a:cubicBezTo>
                <a:cubicBezTo>
                  <a:pt x="100515" y="88333"/>
                  <a:pt x="95048" y="103125"/>
                  <a:pt x="95657" y="118613"/>
                </a:cubicBezTo>
                <a:cubicBezTo>
                  <a:pt x="96257" y="134101"/>
                  <a:pt x="102858" y="148436"/>
                  <a:pt x="114231" y="158961"/>
                </a:cubicBezTo>
                <a:cubicBezTo>
                  <a:pt x="125042" y="168971"/>
                  <a:pt x="138939" y="174401"/>
                  <a:pt x="153588" y="174401"/>
                </a:cubicBezTo>
                <a:cubicBezTo>
                  <a:pt x="154350" y="174401"/>
                  <a:pt x="155131" y="174391"/>
                  <a:pt x="155893" y="174353"/>
                </a:cubicBezTo>
                <a:cubicBezTo>
                  <a:pt x="165761" y="173972"/>
                  <a:pt x="175143" y="171134"/>
                  <a:pt x="183382" y="166200"/>
                </a:cubicBezTo>
                <a:lnTo>
                  <a:pt x="209881" y="192270"/>
                </a:lnTo>
                <a:cubicBezTo>
                  <a:pt x="204604" y="200414"/>
                  <a:pt x="200842" y="209624"/>
                  <a:pt x="199003" y="219502"/>
                </a:cubicBezTo>
                <a:lnTo>
                  <a:pt x="89533" y="218892"/>
                </a:lnTo>
                <a:cubicBezTo>
                  <a:pt x="87247" y="211415"/>
                  <a:pt x="83056" y="204424"/>
                  <a:pt x="76921" y="198737"/>
                </a:cubicBezTo>
                <a:cubicBezTo>
                  <a:pt x="67939" y="190422"/>
                  <a:pt x="56252" y="186126"/>
                  <a:pt x="44022" y="186593"/>
                </a:cubicBezTo>
                <a:cubicBezTo>
                  <a:pt x="31792" y="187069"/>
                  <a:pt x="20486" y="192279"/>
                  <a:pt x="12180" y="201261"/>
                </a:cubicBezTo>
                <a:cubicBezTo>
                  <a:pt x="3865" y="210243"/>
                  <a:pt x="-441" y="221931"/>
                  <a:pt x="36" y="234151"/>
                </a:cubicBezTo>
                <a:cubicBezTo>
                  <a:pt x="512" y="246381"/>
                  <a:pt x="5732" y="257678"/>
                  <a:pt x="14704" y="265993"/>
                </a:cubicBezTo>
                <a:cubicBezTo>
                  <a:pt x="23239" y="273889"/>
                  <a:pt x="34211" y="278176"/>
                  <a:pt x="45765" y="278176"/>
                </a:cubicBezTo>
                <a:cubicBezTo>
                  <a:pt x="46365" y="278176"/>
                  <a:pt x="46975" y="278166"/>
                  <a:pt x="47584" y="278138"/>
                </a:cubicBezTo>
                <a:cubicBezTo>
                  <a:pt x="59805" y="277661"/>
                  <a:pt x="71121" y="272451"/>
                  <a:pt x="79427" y="263479"/>
                </a:cubicBezTo>
                <a:cubicBezTo>
                  <a:pt x="83789" y="258764"/>
                  <a:pt x="86951" y="253363"/>
                  <a:pt x="88971" y="247667"/>
                </a:cubicBezTo>
                <a:lnTo>
                  <a:pt x="199203" y="248267"/>
                </a:lnTo>
                <a:cubicBezTo>
                  <a:pt x="201147" y="257945"/>
                  <a:pt x="204928" y="266946"/>
                  <a:pt x="210176" y="274918"/>
                </a:cubicBezTo>
                <a:lnTo>
                  <a:pt x="190879" y="294530"/>
                </a:lnTo>
                <a:cubicBezTo>
                  <a:pt x="184459" y="290987"/>
                  <a:pt x="177048" y="289053"/>
                  <a:pt x="169219" y="289358"/>
                </a:cubicBezTo>
                <a:cubicBezTo>
                  <a:pt x="146235" y="290253"/>
                  <a:pt x="128252" y="309694"/>
                  <a:pt x="129157" y="332687"/>
                </a:cubicBezTo>
                <a:cubicBezTo>
                  <a:pt x="129585" y="343822"/>
                  <a:pt x="134329" y="354128"/>
                  <a:pt x="142511" y="361691"/>
                </a:cubicBezTo>
                <a:cubicBezTo>
                  <a:pt x="150283" y="368882"/>
                  <a:pt x="160275" y="372788"/>
                  <a:pt x="170800" y="372788"/>
                </a:cubicBezTo>
                <a:cubicBezTo>
                  <a:pt x="171352" y="372788"/>
                  <a:pt x="171905" y="372778"/>
                  <a:pt x="172467" y="372749"/>
                </a:cubicBezTo>
                <a:cubicBezTo>
                  <a:pt x="195460" y="371854"/>
                  <a:pt x="213443" y="352423"/>
                  <a:pt x="212538" y="329430"/>
                </a:cubicBezTo>
                <a:cubicBezTo>
                  <a:pt x="212357" y="324801"/>
                  <a:pt x="211395" y="320390"/>
                  <a:pt x="209833" y="316285"/>
                </a:cubicBezTo>
                <a:lnTo>
                  <a:pt x="230245" y="295540"/>
                </a:lnTo>
                <a:cubicBezTo>
                  <a:pt x="242514" y="304112"/>
                  <a:pt x="257430" y="309151"/>
                  <a:pt x="273498" y="309151"/>
                </a:cubicBezTo>
                <a:cubicBezTo>
                  <a:pt x="289119" y="309151"/>
                  <a:pt x="303655" y="304398"/>
                  <a:pt x="315732" y="296254"/>
                </a:cubicBezTo>
                <a:lnTo>
                  <a:pt x="381159" y="362396"/>
                </a:lnTo>
                <a:cubicBezTo>
                  <a:pt x="376064" y="371016"/>
                  <a:pt x="373263" y="381122"/>
                  <a:pt x="373682" y="391847"/>
                </a:cubicBezTo>
                <a:cubicBezTo>
                  <a:pt x="374244" y="406249"/>
                  <a:pt x="380378" y="419574"/>
                  <a:pt x="390970" y="429366"/>
                </a:cubicBezTo>
                <a:cubicBezTo>
                  <a:pt x="401019" y="438672"/>
                  <a:pt x="413945" y="443711"/>
                  <a:pt x="427565" y="443711"/>
                </a:cubicBezTo>
                <a:cubicBezTo>
                  <a:pt x="428280" y="443711"/>
                  <a:pt x="428994" y="443701"/>
                  <a:pt x="429718" y="443673"/>
                </a:cubicBezTo>
                <a:cubicBezTo>
                  <a:pt x="459445" y="442510"/>
                  <a:pt x="482686" y="417384"/>
                  <a:pt x="481524" y="387647"/>
                </a:cubicBezTo>
                <a:cubicBezTo>
                  <a:pt x="480362" y="357919"/>
                  <a:pt x="455340" y="334640"/>
                  <a:pt x="425508" y="335830"/>
                </a:cubicBezTo>
                <a:cubicBezTo>
                  <a:pt x="416935" y="336164"/>
                  <a:pt x="408925" y="338545"/>
                  <a:pt x="401857" y="342403"/>
                </a:cubicBezTo>
                <a:lnTo>
                  <a:pt x="336135" y="275947"/>
                </a:lnTo>
                <a:cubicBezTo>
                  <a:pt x="341764" y="267698"/>
                  <a:pt x="345793" y="258278"/>
                  <a:pt x="347812" y="248134"/>
                </a:cubicBezTo>
                <a:lnTo>
                  <a:pt x="380083" y="247877"/>
                </a:lnTo>
                <a:cubicBezTo>
                  <a:pt x="382626" y="256249"/>
                  <a:pt x="387294" y="263850"/>
                  <a:pt x="393885" y="269946"/>
                </a:cubicBezTo>
                <a:cubicBezTo>
                  <a:pt x="403458" y="278804"/>
                  <a:pt x="415611" y="283186"/>
                  <a:pt x="427727" y="283186"/>
                </a:cubicBezTo>
                <a:cubicBezTo>
                  <a:pt x="441158" y="283186"/>
                  <a:pt x="454559" y="277804"/>
                  <a:pt x="464379" y="267193"/>
                </a:cubicBezTo>
                <a:lnTo>
                  <a:pt x="464389" y="267193"/>
                </a:lnTo>
                <a:cubicBezTo>
                  <a:pt x="483058" y="247000"/>
                  <a:pt x="481820" y="215387"/>
                  <a:pt x="461646" y="196708"/>
                </a:cubicBezTo>
                <a:cubicBezTo>
                  <a:pt x="441453" y="178039"/>
                  <a:pt x="409830" y="179268"/>
                  <a:pt x="391151" y="199452"/>
                </a:cubicBezTo>
                <a:cubicBezTo>
                  <a:pt x="385874" y="205157"/>
                  <a:pt x="382122" y="211872"/>
                  <a:pt x="379978" y="219111"/>
                </a:cubicBezTo>
                <a:lnTo>
                  <a:pt x="347965" y="219368"/>
                </a:lnTo>
                <a:cubicBezTo>
                  <a:pt x="346012" y="209024"/>
                  <a:pt x="341993" y="199413"/>
                  <a:pt x="336297" y="191003"/>
                </a:cubicBezTo>
                <a:lnTo>
                  <a:pt x="336297" y="191003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F22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04A5B0B-B376-4CBE-983F-505F69FA5F7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58" progId="TCLayout.ActiveDocument.1">
                  <p:embed/>
                </p:oleObj>
              </mc:Choice>
              <mc:Fallback>
                <p:oleObj name="think-cell Slide" r:id="rId9" imgW="359" imgH="358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04A5B0B-B376-4CBE-983F-505F69FA5F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arwheel">
            <a:extLst>
              <a:ext uri="{FF2B5EF4-FFF2-40B4-BE49-F238E27FC236}">
                <a16:creationId xmlns:a16="http://schemas.microsoft.com/office/drawing/2014/main" id="{05D20B5E-93E3-3831-000E-2DD3C3B52A3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665284" y="1687061"/>
            <a:ext cx="777284" cy="777240"/>
          </a:xfrm>
          <a:custGeom>
            <a:avLst/>
            <a:gdLst>
              <a:gd name="connsiteX0" fmla="*/ 304866 w 537276"/>
              <a:gd name="connsiteY0" fmla="*/ 269205 h 537248"/>
              <a:gd name="connsiteX1" fmla="*/ 268557 w 537276"/>
              <a:gd name="connsiteY1" fmla="*/ 305524 h 537248"/>
              <a:gd name="connsiteX2" fmla="*/ 232238 w 537276"/>
              <a:gd name="connsiteY2" fmla="*/ 269205 h 537248"/>
              <a:gd name="connsiteX3" fmla="*/ 268557 w 537276"/>
              <a:gd name="connsiteY3" fmla="*/ 232896 h 537248"/>
              <a:gd name="connsiteX4" fmla="*/ 304866 w 537276"/>
              <a:gd name="connsiteY4" fmla="*/ 269205 h 537248"/>
              <a:gd name="connsiteX5" fmla="*/ 304866 w 537276"/>
              <a:gd name="connsiteY5" fmla="*/ 269205 h 537248"/>
              <a:gd name="connsiteX6" fmla="*/ 115157 w 537276"/>
              <a:gd name="connsiteY6" fmla="*/ 269119 h 537248"/>
              <a:gd name="connsiteX7" fmla="*/ 268719 w 537276"/>
              <a:gd name="connsiteY7" fmla="*/ 422672 h 537248"/>
              <a:gd name="connsiteX8" fmla="*/ 422234 w 537276"/>
              <a:gd name="connsiteY8" fmla="*/ 269119 h 537248"/>
              <a:gd name="connsiteX9" fmla="*/ 268719 w 537276"/>
              <a:gd name="connsiteY9" fmla="*/ 115595 h 537248"/>
              <a:gd name="connsiteX10" fmla="*/ 115157 w 537276"/>
              <a:gd name="connsiteY10" fmla="*/ 269119 h 537248"/>
              <a:gd name="connsiteX11" fmla="*/ 115157 w 537276"/>
              <a:gd name="connsiteY11" fmla="*/ 269119 h 537248"/>
              <a:gd name="connsiteX12" fmla="*/ 537277 w 537276"/>
              <a:gd name="connsiteY12" fmla="*/ 293618 h 537248"/>
              <a:gd name="connsiteX13" fmla="*/ 470697 w 537276"/>
              <a:gd name="connsiteY13" fmla="*/ 293618 h 537248"/>
              <a:gd name="connsiteX14" fmla="*/ 428682 w 537276"/>
              <a:gd name="connsiteY14" fmla="*/ 394706 h 537248"/>
              <a:gd name="connsiteX15" fmla="*/ 476717 w 537276"/>
              <a:gd name="connsiteY15" fmla="*/ 442741 h 537248"/>
              <a:gd name="connsiteX16" fmla="*/ 441379 w 537276"/>
              <a:gd name="connsiteY16" fmla="*/ 478088 h 537248"/>
              <a:gd name="connsiteX17" fmla="*/ 393230 w 537276"/>
              <a:gd name="connsiteY17" fmla="*/ 429939 h 537248"/>
              <a:gd name="connsiteX18" fmla="*/ 293637 w 537276"/>
              <a:gd name="connsiteY18" fmla="*/ 471078 h 537248"/>
              <a:gd name="connsiteX19" fmla="*/ 293637 w 537276"/>
              <a:gd name="connsiteY19" fmla="*/ 537248 h 537248"/>
              <a:gd name="connsiteX20" fmla="*/ 243649 w 537276"/>
              <a:gd name="connsiteY20" fmla="*/ 537248 h 537248"/>
              <a:gd name="connsiteX21" fmla="*/ 243649 w 537276"/>
              <a:gd name="connsiteY21" fmla="*/ 471059 h 537248"/>
              <a:gd name="connsiteX22" fmla="*/ 143323 w 537276"/>
              <a:gd name="connsiteY22" fmla="*/ 429282 h 537248"/>
              <a:gd name="connsiteX23" fmla="*/ 95212 w 537276"/>
              <a:gd name="connsiteY23" fmla="*/ 477393 h 537248"/>
              <a:gd name="connsiteX24" fmla="*/ 59864 w 537276"/>
              <a:gd name="connsiteY24" fmla="*/ 442046 h 537248"/>
              <a:gd name="connsiteX25" fmla="*/ 108042 w 537276"/>
              <a:gd name="connsiteY25" fmla="*/ 393868 h 537248"/>
              <a:gd name="connsiteX26" fmla="*/ 66684 w 537276"/>
              <a:gd name="connsiteY26" fmla="*/ 293618 h 537248"/>
              <a:gd name="connsiteX27" fmla="*/ 0 w 537276"/>
              <a:gd name="connsiteY27" fmla="*/ 293618 h 537248"/>
              <a:gd name="connsiteX28" fmla="*/ 0 w 537276"/>
              <a:gd name="connsiteY28" fmla="*/ 243630 h 537248"/>
              <a:gd name="connsiteX29" fmla="*/ 66808 w 537276"/>
              <a:gd name="connsiteY29" fmla="*/ 243630 h 537248"/>
              <a:gd name="connsiteX30" fmla="*/ 108023 w 537276"/>
              <a:gd name="connsiteY30" fmla="*/ 144418 h 537248"/>
              <a:gd name="connsiteX31" fmla="*/ 59855 w 537276"/>
              <a:gd name="connsiteY31" fmla="*/ 96260 h 537248"/>
              <a:gd name="connsiteX32" fmla="*/ 95202 w 537276"/>
              <a:gd name="connsiteY32" fmla="*/ 60912 h 537248"/>
              <a:gd name="connsiteX33" fmla="*/ 143303 w 537276"/>
              <a:gd name="connsiteY33" fmla="*/ 109004 h 537248"/>
              <a:gd name="connsiteX34" fmla="*/ 243640 w 537276"/>
              <a:gd name="connsiteY34" fmla="*/ 67218 h 537248"/>
              <a:gd name="connsiteX35" fmla="*/ 243640 w 537276"/>
              <a:gd name="connsiteY35" fmla="*/ 0 h 537248"/>
              <a:gd name="connsiteX36" fmla="*/ 293627 w 537276"/>
              <a:gd name="connsiteY36" fmla="*/ 0 h 537248"/>
              <a:gd name="connsiteX37" fmla="*/ 293627 w 537276"/>
              <a:gd name="connsiteY37" fmla="*/ 67199 h 537248"/>
              <a:gd name="connsiteX38" fmla="*/ 394011 w 537276"/>
              <a:gd name="connsiteY38" fmla="*/ 108947 h 537248"/>
              <a:gd name="connsiteX39" fmla="*/ 441360 w 537276"/>
              <a:gd name="connsiteY39" fmla="*/ 61598 h 537248"/>
              <a:gd name="connsiteX40" fmla="*/ 476698 w 537276"/>
              <a:gd name="connsiteY40" fmla="*/ 96945 h 537248"/>
              <a:gd name="connsiteX41" fmla="*/ 429292 w 537276"/>
              <a:gd name="connsiteY41" fmla="*/ 144351 h 537248"/>
              <a:gd name="connsiteX42" fmla="*/ 470545 w 537276"/>
              <a:gd name="connsiteY42" fmla="*/ 243630 h 537248"/>
              <a:gd name="connsiteX43" fmla="*/ 537248 w 537276"/>
              <a:gd name="connsiteY43" fmla="*/ 243630 h 537248"/>
              <a:gd name="connsiteX44" fmla="*/ 537248 w 537276"/>
              <a:gd name="connsiteY44" fmla="*/ 293618 h 537248"/>
              <a:gd name="connsiteX45" fmla="*/ 537277 w 537276"/>
              <a:gd name="connsiteY45" fmla="*/ 293618 h 537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37276" h="537248">
                <a:moveTo>
                  <a:pt x="304866" y="269205"/>
                </a:moveTo>
                <a:cubicBezTo>
                  <a:pt x="304866" y="289265"/>
                  <a:pt x="288617" y="305524"/>
                  <a:pt x="268557" y="305524"/>
                </a:cubicBezTo>
                <a:cubicBezTo>
                  <a:pt x="248507" y="305524"/>
                  <a:pt x="232238" y="289265"/>
                  <a:pt x="232238" y="269205"/>
                </a:cubicBezTo>
                <a:cubicBezTo>
                  <a:pt x="232238" y="249155"/>
                  <a:pt x="248507" y="232896"/>
                  <a:pt x="268557" y="232896"/>
                </a:cubicBezTo>
                <a:cubicBezTo>
                  <a:pt x="288617" y="232896"/>
                  <a:pt x="304866" y="249155"/>
                  <a:pt x="304866" y="269205"/>
                </a:cubicBezTo>
                <a:lnTo>
                  <a:pt x="304866" y="269205"/>
                </a:lnTo>
                <a:close/>
                <a:moveTo>
                  <a:pt x="115157" y="269119"/>
                </a:moveTo>
                <a:cubicBezTo>
                  <a:pt x="115157" y="353787"/>
                  <a:pt x="184042" y="422672"/>
                  <a:pt x="268719" y="422672"/>
                </a:cubicBezTo>
                <a:cubicBezTo>
                  <a:pt x="353368" y="422672"/>
                  <a:pt x="422234" y="353787"/>
                  <a:pt x="422234" y="269119"/>
                </a:cubicBezTo>
                <a:cubicBezTo>
                  <a:pt x="422234" y="184471"/>
                  <a:pt x="353368" y="115595"/>
                  <a:pt x="268719" y="115595"/>
                </a:cubicBezTo>
                <a:cubicBezTo>
                  <a:pt x="184052" y="115605"/>
                  <a:pt x="115157" y="184471"/>
                  <a:pt x="115157" y="269119"/>
                </a:cubicBezTo>
                <a:lnTo>
                  <a:pt x="115157" y="269119"/>
                </a:lnTo>
                <a:close/>
                <a:moveTo>
                  <a:pt x="537277" y="293618"/>
                </a:moveTo>
                <a:lnTo>
                  <a:pt x="470697" y="293618"/>
                </a:lnTo>
                <a:cubicBezTo>
                  <a:pt x="466134" y="331480"/>
                  <a:pt x="451152" y="366151"/>
                  <a:pt x="428682" y="394706"/>
                </a:cubicBezTo>
                <a:lnTo>
                  <a:pt x="476717" y="442741"/>
                </a:lnTo>
                <a:lnTo>
                  <a:pt x="441379" y="478088"/>
                </a:lnTo>
                <a:lnTo>
                  <a:pt x="393230" y="429939"/>
                </a:lnTo>
                <a:cubicBezTo>
                  <a:pt x="364979" y="451866"/>
                  <a:pt x="330860" y="466506"/>
                  <a:pt x="293637" y="471078"/>
                </a:cubicBezTo>
                <a:lnTo>
                  <a:pt x="293637" y="537248"/>
                </a:lnTo>
                <a:lnTo>
                  <a:pt x="243649" y="537248"/>
                </a:lnTo>
                <a:lnTo>
                  <a:pt x="243649" y="471059"/>
                </a:lnTo>
                <a:cubicBezTo>
                  <a:pt x="206102" y="466420"/>
                  <a:pt x="171707" y="451542"/>
                  <a:pt x="143323" y="429282"/>
                </a:cubicBezTo>
                <a:lnTo>
                  <a:pt x="95212" y="477393"/>
                </a:lnTo>
                <a:lnTo>
                  <a:pt x="59864" y="442046"/>
                </a:lnTo>
                <a:lnTo>
                  <a:pt x="108042" y="393868"/>
                </a:lnTo>
                <a:cubicBezTo>
                  <a:pt x="85944" y="365474"/>
                  <a:pt x="71208" y="331108"/>
                  <a:pt x="66684" y="293618"/>
                </a:cubicBezTo>
                <a:lnTo>
                  <a:pt x="0" y="293618"/>
                </a:lnTo>
                <a:lnTo>
                  <a:pt x="0" y="243630"/>
                </a:lnTo>
                <a:lnTo>
                  <a:pt x="66808" y="243630"/>
                </a:lnTo>
                <a:cubicBezTo>
                  <a:pt x="71466" y="206550"/>
                  <a:pt x="86125" y="172555"/>
                  <a:pt x="108023" y="144418"/>
                </a:cubicBezTo>
                <a:lnTo>
                  <a:pt x="59855" y="96260"/>
                </a:lnTo>
                <a:lnTo>
                  <a:pt x="95202" y="60912"/>
                </a:lnTo>
                <a:lnTo>
                  <a:pt x="143303" y="109004"/>
                </a:lnTo>
                <a:cubicBezTo>
                  <a:pt x="171678" y="86735"/>
                  <a:pt x="206083" y="71857"/>
                  <a:pt x="243640" y="67218"/>
                </a:cubicBezTo>
                <a:lnTo>
                  <a:pt x="243640" y="0"/>
                </a:lnTo>
                <a:lnTo>
                  <a:pt x="293627" y="0"/>
                </a:lnTo>
                <a:lnTo>
                  <a:pt x="293627" y="67199"/>
                </a:lnTo>
                <a:cubicBezTo>
                  <a:pt x="331194" y="71809"/>
                  <a:pt x="365617" y="86687"/>
                  <a:pt x="394011" y="108947"/>
                </a:cubicBezTo>
                <a:lnTo>
                  <a:pt x="441360" y="61598"/>
                </a:lnTo>
                <a:lnTo>
                  <a:pt x="476698" y="96945"/>
                </a:lnTo>
                <a:lnTo>
                  <a:pt x="429292" y="144351"/>
                </a:lnTo>
                <a:cubicBezTo>
                  <a:pt x="451209" y="172498"/>
                  <a:pt x="465887" y="206521"/>
                  <a:pt x="470545" y="243630"/>
                </a:cubicBezTo>
                <a:lnTo>
                  <a:pt x="537248" y="243630"/>
                </a:lnTo>
                <a:lnTo>
                  <a:pt x="537248" y="293618"/>
                </a:lnTo>
                <a:lnTo>
                  <a:pt x="537277" y="293618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egotiation">
            <a:extLst>
              <a:ext uri="{FF2B5EF4-FFF2-40B4-BE49-F238E27FC236}">
                <a16:creationId xmlns:a16="http://schemas.microsoft.com/office/drawing/2014/main" id="{235E1A74-31E0-389D-DF40-9536F2DAD0F4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7303452" y="4024158"/>
            <a:ext cx="765861" cy="731520"/>
          </a:xfrm>
          <a:custGeom>
            <a:avLst/>
            <a:gdLst>
              <a:gd name="connsiteX0" fmla="*/ 92259 w 514797"/>
              <a:gd name="connsiteY0" fmla="*/ 37043 h 491718"/>
              <a:gd name="connsiteX1" fmla="*/ 110480 w 514797"/>
              <a:gd name="connsiteY1" fmla="*/ 55264 h 491718"/>
              <a:gd name="connsiteX2" fmla="*/ 92259 w 514797"/>
              <a:gd name="connsiteY2" fmla="*/ 73495 h 491718"/>
              <a:gd name="connsiteX3" fmla="*/ 74028 w 514797"/>
              <a:gd name="connsiteY3" fmla="*/ 55264 h 491718"/>
              <a:gd name="connsiteX4" fmla="*/ 92259 w 514797"/>
              <a:gd name="connsiteY4" fmla="*/ 37043 h 491718"/>
              <a:gd name="connsiteX5" fmla="*/ 92259 w 514797"/>
              <a:gd name="connsiteY5" fmla="*/ 37043 h 491718"/>
              <a:gd name="connsiteX6" fmla="*/ 92259 w 514797"/>
              <a:gd name="connsiteY6" fmla="*/ 110528 h 491718"/>
              <a:gd name="connsiteX7" fmla="*/ 147514 w 514797"/>
              <a:gd name="connsiteY7" fmla="*/ 55264 h 491718"/>
              <a:gd name="connsiteX8" fmla="*/ 92259 w 514797"/>
              <a:gd name="connsiteY8" fmla="*/ 0 h 491718"/>
              <a:gd name="connsiteX9" fmla="*/ 36986 w 514797"/>
              <a:gd name="connsiteY9" fmla="*/ 55264 h 491718"/>
              <a:gd name="connsiteX10" fmla="*/ 92259 w 514797"/>
              <a:gd name="connsiteY10" fmla="*/ 110528 h 491718"/>
              <a:gd name="connsiteX11" fmla="*/ 92259 w 514797"/>
              <a:gd name="connsiteY11" fmla="*/ 110528 h 491718"/>
              <a:gd name="connsiteX12" fmla="*/ 238544 w 514797"/>
              <a:gd name="connsiteY12" fmla="*/ 251622 h 491718"/>
              <a:gd name="connsiteX13" fmla="*/ 186899 w 514797"/>
              <a:gd name="connsiteY13" fmla="*/ 240411 h 491718"/>
              <a:gd name="connsiteX14" fmla="*/ 186899 w 514797"/>
              <a:gd name="connsiteY14" fmla="*/ 217551 h 491718"/>
              <a:gd name="connsiteX15" fmla="*/ 93450 w 514797"/>
              <a:gd name="connsiteY15" fmla="*/ 124101 h 491718"/>
              <a:gd name="connsiteX16" fmla="*/ 0 w 514797"/>
              <a:gd name="connsiteY16" fmla="*/ 217551 h 491718"/>
              <a:gd name="connsiteX17" fmla="*/ 0 w 514797"/>
              <a:gd name="connsiteY17" fmla="*/ 342643 h 491718"/>
              <a:gd name="connsiteX18" fmla="*/ 43205 w 514797"/>
              <a:gd name="connsiteY18" fmla="*/ 342643 h 491718"/>
              <a:gd name="connsiteX19" fmla="*/ 43205 w 514797"/>
              <a:gd name="connsiteY19" fmla="*/ 217551 h 491718"/>
              <a:gd name="connsiteX20" fmla="*/ 93450 w 514797"/>
              <a:gd name="connsiteY20" fmla="*/ 167307 h 491718"/>
              <a:gd name="connsiteX21" fmla="*/ 143685 w 514797"/>
              <a:gd name="connsiteY21" fmla="*/ 217551 h 491718"/>
              <a:gd name="connsiteX22" fmla="*/ 143685 w 514797"/>
              <a:gd name="connsiteY22" fmla="*/ 225628 h 491718"/>
              <a:gd name="connsiteX23" fmla="*/ 100622 w 514797"/>
              <a:gd name="connsiteY23" fmla="*/ 181756 h 491718"/>
              <a:gd name="connsiteX24" fmla="*/ 70075 w 514797"/>
              <a:gd name="connsiteY24" fmla="*/ 181470 h 491718"/>
              <a:gd name="connsiteX25" fmla="*/ 69790 w 514797"/>
              <a:gd name="connsiteY25" fmla="*/ 212017 h 491718"/>
              <a:gd name="connsiteX26" fmla="*/ 128644 w 514797"/>
              <a:gd name="connsiteY26" fmla="*/ 271977 h 491718"/>
              <a:gd name="connsiteX27" fmla="*/ 229381 w 514797"/>
              <a:gd name="connsiteY27" fmla="*/ 293846 h 491718"/>
              <a:gd name="connsiteX28" fmla="*/ 233991 w 514797"/>
              <a:gd name="connsiteY28" fmla="*/ 294341 h 491718"/>
              <a:gd name="connsiteX29" fmla="*/ 255079 w 514797"/>
              <a:gd name="connsiteY29" fmla="*/ 277320 h 491718"/>
              <a:gd name="connsiteX30" fmla="*/ 238544 w 514797"/>
              <a:gd name="connsiteY30" fmla="*/ 251622 h 491718"/>
              <a:gd name="connsiteX31" fmla="*/ 238544 w 514797"/>
              <a:gd name="connsiteY31" fmla="*/ 251622 h 491718"/>
              <a:gd name="connsiteX32" fmla="*/ 422567 w 514797"/>
              <a:gd name="connsiteY32" fmla="*/ 37043 h 491718"/>
              <a:gd name="connsiteX33" fmla="*/ 440798 w 514797"/>
              <a:gd name="connsiteY33" fmla="*/ 55264 h 491718"/>
              <a:gd name="connsiteX34" fmla="*/ 422567 w 514797"/>
              <a:gd name="connsiteY34" fmla="*/ 73495 h 491718"/>
              <a:gd name="connsiteX35" fmla="*/ 404355 w 514797"/>
              <a:gd name="connsiteY35" fmla="*/ 55264 h 491718"/>
              <a:gd name="connsiteX36" fmla="*/ 422567 w 514797"/>
              <a:gd name="connsiteY36" fmla="*/ 37043 h 491718"/>
              <a:gd name="connsiteX37" fmla="*/ 422567 w 514797"/>
              <a:gd name="connsiteY37" fmla="*/ 37043 h 491718"/>
              <a:gd name="connsiteX38" fmla="*/ 422567 w 514797"/>
              <a:gd name="connsiteY38" fmla="*/ 110528 h 491718"/>
              <a:gd name="connsiteX39" fmla="*/ 477840 w 514797"/>
              <a:gd name="connsiteY39" fmla="*/ 55264 h 491718"/>
              <a:gd name="connsiteX40" fmla="*/ 422567 w 514797"/>
              <a:gd name="connsiteY40" fmla="*/ 0 h 491718"/>
              <a:gd name="connsiteX41" fmla="*/ 367313 w 514797"/>
              <a:gd name="connsiteY41" fmla="*/ 55264 h 491718"/>
              <a:gd name="connsiteX42" fmla="*/ 422567 w 514797"/>
              <a:gd name="connsiteY42" fmla="*/ 110528 h 491718"/>
              <a:gd name="connsiteX43" fmla="*/ 422567 w 514797"/>
              <a:gd name="connsiteY43" fmla="*/ 110528 h 491718"/>
              <a:gd name="connsiteX44" fmla="*/ 421367 w 514797"/>
              <a:gd name="connsiteY44" fmla="*/ 124092 h 491718"/>
              <a:gd name="connsiteX45" fmla="*/ 327917 w 514797"/>
              <a:gd name="connsiteY45" fmla="*/ 217541 h 491718"/>
              <a:gd name="connsiteX46" fmla="*/ 327917 w 514797"/>
              <a:gd name="connsiteY46" fmla="*/ 241945 h 491718"/>
              <a:gd name="connsiteX47" fmla="*/ 285302 w 514797"/>
              <a:gd name="connsiteY47" fmla="*/ 251660 h 491718"/>
              <a:gd name="connsiteX48" fmla="*/ 269043 w 514797"/>
              <a:gd name="connsiteY48" fmla="*/ 277530 h 491718"/>
              <a:gd name="connsiteX49" fmla="*/ 290084 w 514797"/>
              <a:gd name="connsiteY49" fmla="*/ 294332 h 491718"/>
              <a:gd name="connsiteX50" fmla="*/ 294903 w 514797"/>
              <a:gd name="connsiteY50" fmla="*/ 293779 h 491718"/>
              <a:gd name="connsiteX51" fmla="*/ 327908 w 514797"/>
              <a:gd name="connsiteY51" fmla="*/ 286255 h 491718"/>
              <a:gd name="connsiteX52" fmla="*/ 327908 w 514797"/>
              <a:gd name="connsiteY52" fmla="*/ 340576 h 491718"/>
              <a:gd name="connsiteX53" fmla="*/ 371113 w 514797"/>
              <a:gd name="connsiteY53" fmla="*/ 340576 h 491718"/>
              <a:gd name="connsiteX54" fmla="*/ 371113 w 514797"/>
              <a:gd name="connsiteY54" fmla="*/ 217532 h 491718"/>
              <a:gd name="connsiteX55" fmla="*/ 421348 w 514797"/>
              <a:gd name="connsiteY55" fmla="*/ 167287 h 491718"/>
              <a:gd name="connsiteX56" fmla="*/ 471592 w 514797"/>
              <a:gd name="connsiteY56" fmla="*/ 217532 h 491718"/>
              <a:gd name="connsiteX57" fmla="*/ 471592 w 514797"/>
              <a:gd name="connsiteY57" fmla="*/ 338518 h 491718"/>
              <a:gd name="connsiteX58" fmla="*/ 514797 w 514797"/>
              <a:gd name="connsiteY58" fmla="*/ 338518 h 491718"/>
              <a:gd name="connsiteX59" fmla="*/ 514797 w 514797"/>
              <a:gd name="connsiteY59" fmla="*/ 217532 h 491718"/>
              <a:gd name="connsiteX60" fmla="*/ 421367 w 514797"/>
              <a:gd name="connsiteY60" fmla="*/ 124092 h 491718"/>
              <a:gd name="connsiteX61" fmla="*/ 421367 w 514797"/>
              <a:gd name="connsiteY61" fmla="*/ 124092 h 491718"/>
              <a:gd name="connsiteX62" fmla="*/ 442188 w 514797"/>
              <a:gd name="connsiteY62" fmla="*/ 365312 h 491718"/>
              <a:gd name="connsiteX63" fmla="*/ 442188 w 514797"/>
              <a:gd name="connsiteY63" fmla="*/ 204111 h 491718"/>
              <a:gd name="connsiteX64" fmla="*/ 420586 w 514797"/>
              <a:gd name="connsiteY64" fmla="*/ 182508 h 491718"/>
              <a:gd name="connsiteX65" fmla="*/ 398983 w 514797"/>
              <a:gd name="connsiteY65" fmla="*/ 204111 h 491718"/>
              <a:gd name="connsiteX66" fmla="*/ 398983 w 514797"/>
              <a:gd name="connsiteY66" fmla="*/ 365312 h 491718"/>
              <a:gd name="connsiteX67" fmla="*/ 420586 w 514797"/>
              <a:gd name="connsiteY67" fmla="*/ 386915 h 491718"/>
              <a:gd name="connsiteX68" fmla="*/ 442188 w 514797"/>
              <a:gd name="connsiteY68" fmla="*/ 365312 h 491718"/>
              <a:gd name="connsiteX69" fmla="*/ 442188 w 514797"/>
              <a:gd name="connsiteY69" fmla="*/ 365312 h 491718"/>
              <a:gd name="connsiteX70" fmla="*/ 331517 w 514797"/>
              <a:gd name="connsiteY70" fmla="*/ 491719 h 491718"/>
              <a:gd name="connsiteX71" fmla="*/ 514207 w 514797"/>
              <a:gd name="connsiteY71" fmla="*/ 491719 h 491718"/>
              <a:gd name="connsiteX72" fmla="*/ 514207 w 514797"/>
              <a:gd name="connsiteY72" fmla="*/ 390830 h 491718"/>
              <a:gd name="connsiteX73" fmla="*/ 331517 w 514797"/>
              <a:gd name="connsiteY73" fmla="*/ 390582 h 491718"/>
              <a:gd name="connsiteX74" fmla="*/ 331517 w 514797"/>
              <a:gd name="connsiteY74" fmla="*/ 491719 h 491718"/>
              <a:gd name="connsiteX75" fmla="*/ 331517 w 514797"/>
              <a:gd name="connsiteY75" fmla="*/ 491719 h 491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14797" h="491718">
                <a:moveTo>
                  <a:pt x="92259" y="37043"/>
                </a:moveTo>
                <a:cubicBezTo>
                  <a:pt x="102298" y="37043"/>
                  <a:pt x="110480" y="45215"/>
                  <a:pt x="110480" y="55264"/>
                </a:cubicBezTo>
                <a:cubicBezTo>
                  <a:pt x="110480" y="65313"/>
                  <a:pt x="102308" y="73495"/>
                  <a:pt x="92259" y="73495"/>
                </a:cubicBezTo>
                <a:cubicBezTo>
                  <a:pt x="82201" y="73495"/>
                  <a:pt x="74028" y="65313"/>
                  <a:pt x="74028" y="55264"/>
                </a:cubicBezTo>
                <a:cubicBezTo>
                  <a:pt x="74019" y="45215"/>
                  <a:pt x="82201" y="37043"/>
                  <a:pt x="92259" y="37043"/>
                </a:cubicBezTo>
                <a:lnTo>
                  <a:pt x="92259" y="37043"/>
                </a:lnTo>
                <a:close/>
                <a:moveTo>
                  <a:pt x="92259" y="110528"/>
                </a:moveTo>
                <a:cubicBezTo>
                  <a:pt x="122777" y="110528"/>
                  <a:pt x="147514" y="85782"/>
                  <a:pt x="147514" y="55264"/>
                </a:cubicBezTo>
                <a:cubicBezTo>
                  <a:pt x="147514" y="24746"/>
                  <a:pt x="122777" y="0"/>
                  <a:pt x="92259" y="0"/>
                </a:cubicBezTo>
                <a:cubicBezTo>
                  <a:pt x="61722" y="0"/>
                  <a:pt x="36986" y="24746"/>
                  <a:pt x="36986" y="55264"/>
                </a:cubicBezTo>
                <a:cubicBezTo>
                  <a:pt x="36986" y="85782"/>
                  <a:pt x="61722" y="110528"/>
                  <a:pt x="92259" y="110528"/>
                </a:cubicBezTo>
                <a:lnTo>
                  <a:pt x="92259" y="110528"/>
                </a:lnTo>
                <a:close/>
                <a:moveTo>
                  <a:pt x="238544" y="251622"/>
                </a:moveTo>
                <a:lnTo>
                  <a:pt x="186899" y="240411"/>
                </a:lnTo>
                <a:lnTo>
                  <a:pt x="186899" y="217551"/>
                </a:lnTo>
                <a:cubicBezTo>
                  <a:pt x="186899" y="166021"/>
                  <a:pt x="144980" y="124101"/>
                  <a:pt x="93450" y="124101"/>
                </a:cubicBezTo>
                <a:cubicBezTo>
                  <a:pt x="41920" y="124101"/>
                  <a:pt x="0" y="166021"/>
                  <a:pt x="0" y="217551"/>
                </a:cubicBezTo>
                <a:lnTo>
                  <a:pt x="0" y="342643"/>
                </a:lnTo>
                <a:lnTo>
                  <a:pt x="43205" y="342643"/>
                </a:lnTo>
                <a:lnTo>
                  <a:pt x="43205" y="217551"/>
                </a:lnTo>
                <a:cubicBezTo>
                  <a:pt x="43205" y="189852"/>
                  <a:pt x="65741" y="167307"/>
                  <a:pt x="93450" y="167307"/>
                </a:cubicBezTo>
                <a:cubicBezTo>
                  <a:pt x="121148" y="167307"/>
                  <a:pt x="143685" y="189843"/>
                  <a:pt x="143685" y="217551"/>
                </a:cubicBezTo>
                <a:lnTo>
                  <a:pt x="143685" y="225628"/>
                </a:lnTo>
                <a:lnTo>
                  <a:pt x="100622" y="181756"/>
                </a:lnTo>
                <a:cubicBezTo>
                  <a:pt x="92268" y="173241"/>
                  <a:pt x="78581" y="173117"/>
                  <a:pt x="70075" y="181470"/>
                </a:cubicBezTo>
                <a:cubicBezTo>
                  <a:pt x="61569" y="189824"/>
                  <a:pt x="61426" y="203502"/>
                  <a:pt x="69790" y="212017"/>
                </a:cubicBezTo>
                <a:lnTo>
                  <a:pt x="128644" y="271977"/>
                </a:lnTo>
                <a:lnTo>
                  <a:pt x="229381" y="293846"/>
                </a:lnTo>
                <a:cubicBezTo>
                  <a:pt x="230933" y="294179"/>
                  <a:pt x="232467" y="294341"/>
                  <a:pt x="233991" y="294341"/>
                </a:cubicBezTo>
                <a:cubicBezTo>
                  <a:pt x="243935" y="294341"/>
                  <a:pt x="252889" y="287436"/>
                  <a:pt x="255079" y="277320"/>
                </a:cubicBezTo>
                <a:cubicBezTo>
                  <a:pt x="257604" y="265652"/>
                  <a:pt x="250202" y="254155"/>
                  <a:pt x="238544" y="251622"/>
                </a:cubicBezTo>
                <a:lnTo>
                  <a:pt x="238544" y="251622"/>
                </a:lnTo>
                <a:close/>
                <a:moveTo>
                  <a:pt x="422567" y="37043"/>
                </a:moveTo>
                <a:cubicBezTo>
                  <a:pt x="432626" y="37043"/>
                  <a:pt x="440798" y="45215"/>
                  <a:pt x="440798" y="55264"/>
                </a:cubicBezTo>
                <a:cubicBezTo>
                  <a:pt x="440798" y="65313"/>
                  <a:pt x="432616" y="73495"/>
                  <a:pt x="422567" y="73495"/>
                </a:cubicBezTo>
                <a:cubicBezTo>
                  <a:pt x="412527" y="73495"/>
                  <a:pt x="404355" y="65313"/>
                  <a:pt x="404355" y="55264"/>
                </a:cubicBezTo>
                <a:cubicBezTo>
                  <a:pt x="404346" y="45215"/>
                  <a:pt x="412518" y="37043"/>
                  <a:pt x="422567" y="37043"/>
                </a:cubicBezTo>
                <a:lnTo>
                  <a:pt x="422567" y="37043"/>
                </a:lnTo>
                <a:close/>
                <a:moveTo>
                  <a:pt x="422567" y="110528"/>
                </a:moveTo>
                <a:cubicBezTo>
                  <a:pt x="453104" y="110528"/>
                  <a:pt x="477840" y="85782"/>
                  <a:pt x="477840" y="55264"/>
                </a:cubicBezTo>
                <a:cubicBezTo>
                  <a:pt x="477840" y="24746"/>
                  <a:pt x="453104" y="0"/>
                  <a:pt x="422567" y="0"/>
                </a:cubicBezTo>
                <a:cubicBezTo>
                  <a:pt x="392049" y="0"/>
                  <a:pt x="367313" y="24746"/>
                  <a:pt x="367313" y="55264"/>
                </a:cubicBezTo>
                <a:cubicBezTo>
                  <a:pt x="367313" y="85782"/>
                  <a:pt x="392049" y="110528"/>
                  <a:pt x="422567" y="110528"/>
                </a:cubicBezTo>
                <a:lnTo>
                  <a:pt x="422567" y="110528"/>
                </a:lnTo>
                <a:close/>
                <a:moveTo>
                  <a:pt x="421367" y="124092"/>
                </a:moveTo>
                <a:cubicBezTo>
                  <a:pt x="369836" y="124092"/>
                  <a:pt x="327917" y="166011"/>
                  <a:pt x="327917" y="217541"/>
                </a:cubicBezTo>
                <a:lnTo>
                  <a:pt x="327917" y="241945"/>
                </a:lnTo>
                <a:lnTo>
                  <a:pt x="285302" y="251660"/>
                </a:lnTo>
                <a:cubicBezTo>
                  <a:pt x="273672" y="254308"/>
                  <a:pt x="266395" y="265890"/>
                  <a:pt x="269043" y="277530"/>
                </a:cubicBezTo>
                <a:cubicBezTo>
                  <a:pt x="271329" y="287541"/>
                  <a:pt x="280235" y="294332"/>
                  <a:pt x="290084" y="294332"/>
                </a:cubicBezTo>
                <a:cubicBezTo>
                  <a:pt x="291674" y="294332"/>
                  <a:pt x="293293" y="294151"/>
                  <a:pt x="294903" y="293779"/>
                </a:cubicBezTo>
                <a:lnTo>
                  <a:pt x="327908" y="286255"/>
                </a:lnTo>
                <a:lnTo>
                  <a:pt x="327908" y="340576"/>
                </a:lnTo>
                <a:lnTo>
                  <a:pt x="371113" y="340576"/>
                </a:lnTo>
                <a:lnTo>
                  <a:pt x="371113" y="217532"/>
                </a:lnTo>
                <a:cubicBezTo>
                  <a:pt x="371113" y="189833"/>
                  <a:pt x="393649" y="167287"/>
                  <a:pt x="421348" y="167287"/>
                </a:cubicBezTo>
                <a:cubicBezTo>
                  <a:pt x="449056" y="167287"/>
                  <a:pt x="471592" y="189824"/>
                  <a:pt x="471592" y="217532"/>
                </a:cubicBezTo>
                <a:lnTo>
                  <a:pt x="471592" y="338518"/>
                </a:lnTo>
                <a:lnTo>
                  <a:pt x="514797" y="338518"/>
                </a:lnTo>
                <a:lnTo>
                  <a:pt x="514797" y="217532"/>
                </a:lnTo>
                <a:cubicBezTo>
                  <a:pt x="514826" y="166021"/>
                  <a:pt x="472897" y="124092"/>
                  <a:pt x="421367" y="124092"/>
                </a:cubicBezTo>
                <a:lnTo>
                  <a:pt x="421367" y="124092"/>
                </a:lnTo>
                <a:close/>
                <a:moveTo>
                  <a:pt x="442188" y="365312"/>
                </a:moveTo>
                <a:lnTo>
                  <a:pt x="442188" y="204111"/>
                </a:lnTo>
                <a:cubicBezTo>
                  <a:pt x="442188" y="192176"/>
                  <a:pt x="432520" y="182508"/>
                  <a:pt x="420586" y="182508"/>
                </a:cubicBezTo>
                <a:cubicBezTo>
                  <a:pt x="408660" y="182508"/>
                  <a:pt x="398983" y="192176"/>
                  <a:pt x="398983" y="204111"/>
                </a:cubicBezTo>
                <a:lnTo>
                  <a:pt x="398983" y="365312"/>
                </a:lnTo>
                <a:cubicBezTo>
                  <a:pt x="398983" y="377247"/>
                  <a:pt x="408660" y="386915"/>
                  <a:pt x="420586" y="386915"/>
                </a:cubicBezTo>
                <a:cubicBezTo>
                  <a:pt x="432520" y="386915"/>
                  <a:pt x="442188" y="377237"/>
                  <a:pt x="442188" y="365312"/>
                </a:cubicBezTo>
                <a:lnTo>
                  <a:pt x="442188" y="365312"/>
                </a:lnTo>
                <a:close/>
                <a:moveTo>
                  <a:pt x="331517" y="491719"/>
                </a:moveTo>
                <a:lnTo>
                  <a:pt x="514207" y="491719"/>
                </a:lnTo>
                <a:lnTo>
                  <a:pt x="514207" y="390830"/>
                </a:lnTo>
                <a:lnTo>
                  <a:pt x="331517" y="390582"/>
                </a:lnTo>
                <a:lnTo>
                  <a:pt x="331517" y="491719"/>
                </a:lnTo>
                <a:lnTo>
                  <a:pt x="331517" y="491719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Lightbulb">
            <a:extLst>
              <a:ext uri="{FF2B5EF4-FFF2-40B4-BE49-F238E27FC236}">
                <a16:creationId xmlns:a16="http://schemas.microsoft.com/office/drawing/2014/main" id="{F8F1D538-9F38-433A-879A-50774463F846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7437478" y="1687061"/>
            <a:ext cx="506372" cy="777240"/>
          </a:xfrm>
          <a:custGeom>
            <a:avLst/>
            <a:gdLst>
              <a:gd name="connsiteX0" fmla="*/ 185338 w 274491"/>
              <a:gd name="connsiteY0" fmla="*/ 258394 h 421328"/>
              <a:gd name="connsiteX1" fmla="*/ 88897 w 274491"/>
              <a:gd name="connsiteY1" fmla="*/ 258423 h 421328"/>
              <a:gd name="connsiteX2" fmla="*/ 82791 w 274491"/>
              <a:gd name="connsiteY2" fmla="*/ 211912 h 421328"/>
              <a:gd name="connsiteX3" fmla="*/ 81449 w 274491"/>
              <a:gd name="connsiteY3" fmla="*/ 212093 h 421328"/>
              <a:gd name="connsiteX4" fmla="*/ 82277 w 274491"/>
              <a:gd name="connsiteY4" fmla="*/ 210979 h 421328"/>
              <a:gd name="connsiteX5" fmla="*/ 45273 w 274491"/>
              <a:gd name="connsiteY5" fmla="*/ 137236 h 421328"/>
              <a:gd name="connsiteX6" fmla="*/ 137236 w 274491"/>
              <a:gd name="connsiteY6" fmla="*/ 45272 h 421328"/>
              <a:gd name="connsiteX7" fmla="*/ 229201 w 274491"/>
              <a:gd name="connsiteY7" fmla="*/ 137236 h 421328"/>
              <a:gd name="connsiteX8" fmla="*/ 191844 w 274491"/>
              <a:gd name="connsiteY8" fmla="*/ 210598 h 421328"/>
              <a:gd name="connsiteX9" fmla="*/ 192739 w 274491"/>
              <a:gd name="connsiteY9" fmla="*/ 211798 h 421328"/>
              <a:gd name="connsiteX10" fmla="*/ 191177 w 274491"/>
              <a:gd name="connsiteY10" fmla="*/ 211598 h 421328"/>
              <a:gd name="connsiteX11" fmla="*/ 185338 w 274491"/>
              <a:gd name="connsiteY11" fmla="*/ 258394 h 421328"/>
              <a:gd name="connsiteX12" fmla="*/ 185338 w 274491"/>
              <a:gd name="connsiteY12" fmla="*/ 258394 h 421328"/>
              <a:gd name="connsiteX13" fmla="*/ 274492 w 274491"/>
              <a:gd name="connsiteY13" fmla="*/ 137236 h 421328"/>
              <a:gd name="connsiteX14" fmla="*/ 137246 w 274491"/>
              <a:gd name="connsiteY14" fmla="*/ 0 h 421328"/>
              <a:gd name="connsiteX15" fmla="*/ 0 w 274491"/>
              <a:gd name="connsiteY15" fmla="*/ 137236 h 421328"/>
              <a:gd name="connsiteX16" fmla="*/ 40015 w 274491"/>
              <a:gd name="connsiteY16" fmla="*/ 233982 h 421328"/>
              <a:gd name="connsiteX17" fmla="*/ 49159 w 274491"/>
              <a:gd name="connsiteY17" fmla="*/ 303724 h 421328"/>
              <a:gd name="connsiteX18" fmla="*/ 225305 w 274491"/>
              <a:gd name="connsiteY18" fmla="*/ 303667 h 421328"/>
              <a:gd name="connsiteX19" fmla="*/ 234039 w 274491"/>
              <a:gd name="connsiteY19" fmla="*/ 233820 h 421328"/>
              <a:gd name="connsiteX20" fmla="*/ 274492 w 274491"/>
              <a:gd name="connsiteY20" fmla="*/ 137236 h 421328"/>
              <a:gd name="connsiteX21" fmla="*/ 274492 w 274491"/>
              <a:gd name="connsiteY21" fmla="*/ 137236 h 421328"/>
              <a:gd name="connsiteX22" fmla="*/ 216561 w 274491"/>
              <a:gd name="connsiteY22" fmla="*/ 313954 h 421328"/>
              <a:gd name="connsiteX23" fmla="*/ 57617 w 274491"/>
              <a:gd name="connsiteY23" fmla="*/ 313992 h 421328"/>
              <a:gd name="connsiteX24" fmla="*/ 57627 w 274491"/>
              <a:gd name="connsiteY24" fmla="*/ 339862 h 421328"/>
              <a:gd name="connsiteX25" fmla="*/ 216570 w 274491"/>
              <a:gd name="connsiteY25" fmla="*/ 339823 h 421328"/>
              <a:gd name="connsiteX26" fmla="*/ 216561 w 274491"/>
              <a:gd name="connsiteY26" fmla="*/ 313954 h 421328"/>
              <a:gd name="connsiteX27" fmla="*/ 216561 w 274491"/>
              <a:gd name="connsiteY27" fmla="*/ 313954 h 421328"/>
              <a:gd name="connsiteX28" fmla="*/ 57627 w 274491"/>
              <a:gd name="connsiteY28" fmla="*/ 375447 h 421328"/>
              <a:gd name="connsiteX29" fmla="*/ 216570 w 274491"/>
              <a:gd name="connsiteY29" fmla="*/ 375409 h 421328"/>
              <a:gd name="connsiteX30" fmla="*/ 216561 w 274491"/>
              <a:gd name="connsiteY30" fmla="*/ 349539 h 421328"/>
              <a:gd name="connsiteX31" fmla="*/ 57617 w 274491"/>
              <a:gd name="connsiteY31" fmla="*/ 349577 h 421328"/>
              <a:gd name="connsiteX32" fmla="*/ 57627 w 274491"/>
              <a:gd name="connsiteY32" fmla="*/ 375447 h 421328"/>
              <a:gd name="connsiteX33" fmla="*/ 57627 w 274491"/>
              <a:gd name="connsiteY33" fmla="*/ 375447 h 421328"/>
              <a:gd name="connsiteX34" fmla="*/ 206855 w 274491"/>
              <a:gd name="connsiteY34" fmla="*/ 385115 h 421328"/>
              <a:gd name="connsiteX35" fmla="*/ 67323 w 274491"/>
              <a:gd name="connsiteY35" fmla="*/ 385153 h 421328"/>
              <a:gd name="connsiteX36" fmla="*/ 67333 w 274491"/>
              <a:gd name="connsiteY36" fmla="*/ 409480 h 421328"/>
              <a:gd name="connsiteX37" fmla="*/ 56693 w 274491"/>
              <a:gd name="connsiteY37" fmla="*/ 409480 h 421328"/>
              <a:gd name="connsiteX38" fmla="*/ 68590 w 274491"/>
              <a:gd name="connsiteY38" fmla="*/ 412661 h 421328"/>
              <a:gd name="connsiteX39" fmla="*/ 137256 w 274491"/>
              <a:gd name="connsiteY39" fmla="*/ 421329 h 421328"/>
              <a:gd name="connsiteX40" fmla="*/ 205921 w 274491"/>
              <a:gd name="connsiteY40" fmla="*/ 412661 h 421328"/>
              <a:gd name="connsiteX41" fmla="*/ 217818 w 274491"/>
              <a:gd name="connsiteY41" fmla="*/ 409480 h 421328"/>
              <a:gd name="connsiteX42" fmla="*/ 206873 w 274491"/>
              <a:gd name="connsiteY42" fmla="*/ 409480 h 421328"/>
              <a:gd name="connsiteX43" fmla="*/ 206855 w 274491"/>
              <a:gd name="connsiteY43" fmla="*/ 385115 h 421328"/>
              <a:gd name="connsiteX44" fmla="*/ 206855 w 274491"/>
              <a:gd name="connsiteY44" fmla="*/ 385115 h 4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74491" h="421328">
                <a:moveTo>
                  <a:pt x="185338" y="258394"/>
                </a:moveTo>
                <a:lnTo>
                  <a:pt x="88897" y="258423"/>
                </a:lnTo>
                <a:lnTo>
                  <a:pt x="82791" y="211912"/>
                </a:lnTo>
                <a:lnTo>
                  <a:pt x="81449" y="212093"/>
                </a:lnTo>
                <a:lnTo>
                  <a:pt x="82277" y="210979"/>
                </a:lnTo>
                <a:cubicBezTo>
                  <a:pt x="58760" y="193415"/>
                  <a:pt x="45273" y="166535"/>
                  <a:pt x="45273" y="137236"/>
                </a:cubicBezTo>
                <a:cubicBezTo>
                  <a:pt x="45273" y="86525"/>
                  <a:pt x="86526" y="45272"/>
                  <a:pt x="137236" y="45272"/>
                </a:cubicBezTo>
                <a:cubicBezTo>
                  <a:pt x="187947" y="45272"/>
                  <a:pt x="229201" y="86525"/>
                  <a:pt x="229201" y="137236"/>
                </a:cubicBezTo>
                <a:cubicBezTo>
                  <a:pt x="229201" y="166135"/>
                  <a:pt x="215589" y="192872"/>
                  <a:pt x="191844" y="210598"/>
                </a:cubicBezTo>
                <a:lnTo>
                  <a:pt x="192739" y="211798"/>
                </a:lnTo>
                <a:lnTo>
                  <a:pt x="191177" y="211598"/>
                </a:lnTo>
                <a:lnTo>
                  <a:pt x="185338" y="258394"/>
                </a:lnTo>
                <a:lnTo>
                  <a:pt x="185338" y="258394"/>
                </a:lnTo>
                <a:close/>
                <a:moveTo>
                  <a:pt x="274492" y="137236"/>
                </a:moveTo>
                <a:cubicBezTo>
                  <a:pt x="274492" y="61560"/>
                  <a:pt x="212922" y="0"/>
                  <a:pt x="137246" y="0"/>
                </a:cubicBezTo>
                <a:cubicBezTo>
                  <a:pt x="61570" y="0"/>
                  <a:pt x="0" y="61570"/>
                  <a:pt x="0" y="137236"/>
                </a:cubicBezTo>
                <a:cubicBezTo>
                  <a:pt x="0" y="173555"/>
                  <a:pt x="14707" y="208455"/>
                  <a:pt x="40015" y="233982"/>
                </a:cubicBezTo>
                <a:lnTo>
                  <a:pt x="49159" y="303724"/>
                </a:lnTo>
                <a:lnTo>
                  <a:pt x="225305" y="303667"/>
                </a:lnTo>
                <a:lnTo>
                  <a:pt x="234039" y="233820"/>
                </a:lnTo>
                <a:cubicBezTo>
                  <a:pt x="259928" y="208159"/>
                  <a:pt x="274492" y="173917"/>
                  <a:pt x="274492" y="137236"/>
                </a:cubicBezTo>
                <a:lnTo>
                  <a:pt x="274492" y="137236"/>
                </a:lnTo>
                <a:close/>
                <a:moveTo>
                  <a:pt x="216561" y="313954"/>
                </a:moveTo>
                <a:lnTo>
                  <a:pt x="57617" y="313992"/>
                </a:lnTo>
                <a:lnTo>
                  <a:pt x="57627" y="339862"/>
                </a:lnTo>
                <a:lnTo>
                  <a:pt x="216570" y="339823"/>
                </a:lnTo>
                <a:lnTo>
                  <a:pt x="216561" y="313954"/>
                </a:lnTo>
                <a:lnTo>
                  <a:pt x="216561" y="313954"/>
                </a:lnTo>
                <a:close/>
                <a:moveTo>
                  <a:pt x="57627" y="375447"/>
                </a:moveTo>
                <a:lnTo>
                  <a:pt x="216570" y="375409"/>
                </a:lnTo>
                <a:lnTo>
                  <a:pt x="216561" y="349539"/>
                </a:lnTo>
                <a:lnTo>
                  <a:pt x="57617" y="349577"/>
                </a:lnTo>
                <a:lnTo>
                  <a:pt x="57627" y="375447"/>
                </a:lnTo>
                <a:lnTo>
                  <a:pt x="57627" y="375447"/>
                </a:lnTo>
                <a:close/>
                <a:moveTo>
                  <a:pt x="206855" y="385115"/>
                </a:moveTo>
                <a:lnTo>
                  <a:pt x="67323" y="385153"/>
                </a:lnTo>
                <a:lnTo>
                  <a:pt x="67333" y="409480"/>
                </a:lnTo>
                <a:lnTo>
                  <a:pt x="56693" y="409480"/>
                </a:lnTo>
                <a:lnTo>
                  <a:pt x="68590" y="412661"/>
                </a:lnTo>
                <a:cubicBezTo>
                  <a:pt x="90097" y="418414"/>
                  <a:pt x="113195" y="421329"/>
                  <a:pt x="137256" y="421329"/>
                </a:cubicBezTo>
                <a:cubicBezTo>
                  <a:pt x="161306" y="421329"/>
                  <a:pt x="184414" y="418414"/>
                  <a:pt x="205921" y="412661"/>
                </a:cubicBezTo>
                <a:lnTo>
                  <a:pt x="217818" y="409480"/>
                </a:lnTo>
                <a:lnTo>
                  <a:pt x="206873" y="409480"/>
                </a:lnTo>
                <a:lnTo>
                  <a:pt x="206855" y="385115"/>
                </a:lnTo>
                <a:lnTo>
                  <a:pt x="206855" y="385115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AB4380BF-52D0-E893-B663-09C08EAB14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E02BBA1D-41FA-6ECA-FB78-7C39D15A8E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 noProof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endParaRPr lang="en-GB" kern="12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06C943-81C6-2D78-45A6-B2CE1C20813A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0281149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93B66-1A95-8362-1F09-054D626A7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68300"/>
            <a:ext cx="11017224" cy="934900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lnSpc>
                <a:spcPct val="100000"/>
              </a:lnSpc>
            </a:pPr>
            <a:r>
              <a:rPr lang="en-GB" b="1" kern="1200">
                <a:latin typeface="+mj-lt"/>
                <a:ea typeface="+mj-ea"/>
                <a:cs typeface="+mj-cs"/>
              </a:rPr>
              <a:t>Clearstream Collateral Management Service for Market Infrastructures 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B95C3BD-36C8-C463-2D0E-F94DE079D537}"/>
              </a:ext>
            </a:extLst>
          </p:cNvPr>
          <p:cNvSpPr txBox="1">
            <a:spLocks/>
          </p:cNvSpPr>
          <p:nvPr/>
        </p:nvSpPr>
        <p:spPr bwMode="gray">
          <a:xfrm>
            <a:off x="587376" y="2746455"/>
            <a:ext cx="5413375" cy="22786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kern="1200"/>
              <a:t>Clearstream has </a:t>
            </a:r>
            <a:r>
              <a:rPr lang="en-US" b="1">
                <a:solidFill>
                  <a:schemeClr val="accent4"/>
                </a:solidFill>
              </a:rPr>
              <a:t>&gt; 11 years of </a:t>
            </a:r>
            <a:r>
              <a:rPr lang="en-US" b="1" kern="1200">
                <a:solidFill>
                  <a:schemeClr val="accent4"/>
                </a:solidFill>
              </a:rPr>
              <a:t>extensive experience in supporting market infrastructures in setting-up an end-to-end domestic Collateral Management Service </a:t>
            </a:r>
            <a:r>
              <a:rPr lang="en-US" kern="1200"/>
              <a:t>in response to a growing market demand. </a:t>
            </a:r>
          </a:p>
          <a:p>
            <a:endParaRPr lang="en-US" kern="12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C9736-D8A5-60F6-489E-0CD45D2BD9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>
                <a:latin typeface="+mn-lt"/>
                <a:ea typeface="+mn-ea"/>
                <a:cs typeface="+mn-cs"/>
              </a:rPr>
              <a:t>Clearstream | Deutsche Börse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3CDB4-64C8-3C9A-7E98-97AAE3A58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>
                <a:latin typeface="+mn-lt"/>
                <a:ea typeface="+mn-ea"/>
                <a:cs typeface="+mn-cs"/>
              </a:rPr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endParaRPr lang="en-GB" kern="1200"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6428744C-59BE-6391-42C8-3FB5A24EDEB4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893856597"/>
              </p:ext>
            </p:extLst>
          </p:nvPr>
        </p:nvGraphicFramePr>
        <p:xfrm>
          <a:off x="6000751" y="1642188"/>
          <a:ext cx="5783812" cy="4487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2337CFA-9FF8-8A96-F93A-C6650B0D9DF3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646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0154E6A-4C27-47B2-94AB-B66AEEF45F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0154E6A-4C27-47B2-94AB-B66AEEF45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A000BA2-87D1-420C-8624-CCA3C91B9A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vert="horz"/>
          <a:lstStyle/>
          <a:p>
            <a:r>
              <a:rPr lang="en-US"/>
              <a:t>Collateral Management Services – Outsourcing Model</a:t>
            </a:r>
            <a:endParaRPr lang="en-US">
              <a:solidFill>
                <a:srgbClr val="00A5C0"/>
              </a:solidFill>
              <a:cs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1803A2-A0F6-4FA1-921A-3F03EB61A7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2C9EDE-4A13-4E4A-9EAA-A59A97CC9CE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B44A4A-0AC2-4655-9874-E49E2B6886F6}"/>
              </a:ext>
            </a:extLst>
          </p:cNvPr>
          <p:cNvSpPr txBox="1"/>
          <p:nvPr/>
        </p:nvSpPr>
        <p:spPr>
          <a:xfrm>
            <a:off x="773336" y="1712272"/>
            <a:ext cx="10640388" cy="131430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indent="0">
              <a:spcAft>
                <a:spcPts val="600"/>
              </a:spcAft>
              <a:buFontTx/>
              <a:buNone/>
            </a:pPr>
            <a:r>
              <a:rPr lang="en-US" b="1" dirty="0">
                <a:solidFill>
                  <a:schemeClr val="accent1"/>
                </a:solidFill>
              </a:rPr>
              <a:t>Outsourcing model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/>
              <a:t>: Local market infrastructure offers the Collateral Management Service to its market participants in its own name and outsources the technical processing and some operational activities to Clearstream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0D2528-386C-874E-9C43-E2454546023A}"/>
              </a:ext>
            </a:extLst>
          </p:cNvPr>
          <p:cNvSpPr txBox="1"/>
          <p:nvPr/>
        </p:nvSpPr>
        <p:spPr>
          <a:xfrm>
            <a:off x="5909509" y="3269797"/>
            <a:ext cx="4891371" cy="234360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n-US" b="1" u="sng" dirty="0"/>
              <a:t>Implemented in: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/>
              <a:t>Australia (</a:t>
            </a:r>
            <a:r>
              <a:rPr lang="en-US" b="1" dirty="0">
                <a:solidFill>
                  <a:schemeClr val="accent1"/>
                </a:solidFill>
              </a:rPr>
              <a:t>ASX</a:t>
            </a:r>
            <a:r>
              <a:rPr lang="en-US" dirty="0"/>
              <a:t>)</a:t>
            </a:r>
            <a:endParaRPr lang="en-US" dirty="0">
              <a:cs typeface="Arial" panose="020B0604020202020204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>
                <a:cs typeface="Arial" panose="020B0604020202020204"/>
              </a:rPr>
              <a:t>Brazil (</a:t>
            </a:r>
            <a:r>
              <a:rPr lang="en-US" b="1" dirty="0">
                <a:solidFill>
                  <a:schemeClr val="accent1"/>
                </a:solidFill>
                <a:cs typeface="Arial" panose="020B0604020202020204"/>
              </a:rPr>
              <a:t>B3</a:t>
            </a:r>
            <a:r>
              <a:rPr lang="en-US" dirty="0">
                <a:cs typeface="Arial" panose="020B0604020202020204"/>
              </a:rPr>
              <a:t>)</a:t>
            </a:r>
            <a:endParaRPr lang="en-US" dirty="0"/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/>
              <a:t>Germany (</a:t>
            </a:r>
            <a:r>
              <a:rPr lang="en-US" b="1" dirty="0">
                <a:solidFill>
                  <a:schemeClr val="accent1"/>
                </a:solidFill>
              </a:rPr>
              <a:t>CBF</a:t>
            </a:r>
            <a:r>
              <a:rPr lang="en-US" dirty="0"/>
              <a:t>)</a:t>
            </a:r>
            <a:endParaRPr lang="en-US" dirty="0">
              <a:cs typeface="Arial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/>
              <a:t>South Africa (</a:t>
            </a:r>
            <a:r>
              <a:rPr lang="en-US" b="1" dirty="0">
                <a:solidFill>
                  <a:schemeClr val="accent1"/>
                </a:solidFill>
              </a:rPr>
              <a:t>STRATE</a:t>
            </a:r>
            <a:r>
              <a:rPr lang="en-US" dirty="0"/>
              <a:t>)</a:t>
            </a:r>
            <a:endParaRPr lang="en-US" dirty="0">
              <a:cs typeface="Arial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/>
              <a:t>Spain (</a:t>
            </a:r>
            <a:r>
              <a:rPr lang="en-US" b="1" dirty="0" err="1">
                <a:solidFill>
                  <a:schemeClr val="accent1"/>
                </a:solidFill>
              </a:rPr>
              <a:t>Iberclear</a:t>
            </a:r>
            <a:r>
              <a:rPr lang="en-US" dirty="0"/>
              <a:t>) </a:t>
            </a:r>
            <a:endParaRPr lang="en-US" dirty="0">
              <a:cs typeface="Arial"/>
            </a:endParaRP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A4E073A-D629-E508-76B0-5C84FE02A9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184649-E013-D4F3-8FD8-D3468DF4B158}"/>
              </a:ext>
            </a:extLst>
          </p:cNvPr>
          <p:cNvGrpSpPr/>
          <p:nvPr/>
        </p:nvGrpSpPr>
        <p:grpSpPr>
          <a:xfrm>
            <a:off x="1645770" y="3663518"/>
            <a:ext cx="3283099" cy="1556160"/>
            <a:chOff x="955258" y="4191396"/>
            <a:chExt cx="3283099" cy="1556160"/>
          </a:xfrm>
        </p:grpSpPr>
        <p:pic>
          <p:nvPicPr>
            <p:cNvPr id="1026" name="Picture 2" descr="Iberclear is granted CSDR licence – ECSDA">
              <a:extLst>
                <a:ext uri="{FF2B5EF4-FFF2-40B4-BE49-F238E27FC236}">
                  <a16:creationId xmlns:a16="http://schemas.microsoft.com/office/drawing/2014/main" id="{90952B15-10EE-96C8-83C8-E3CB57C52E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3357" y="4463157"/>
              <a:ext cx="1905000" cy="106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E055F04-3E8B-4C30-9B44-3C329BCE8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67692" y="4191396"/>
              <a:ext cx="974651" cy="596591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2F347E5-144E-435C-AD04-D4533D784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258" y="4847898"/>
              <a:ext cx="1391697" cy="396634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7CBC302-8C55-46E5-A4D0-723998599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720819" y="4243155"/>
              <a:ext cx="536975" cy="460807"/>
            </a:xfrm>
            <a:prstGeom prst="rect">
              <a:avLst/>
            </a:prstGeom>
          </p:spPr>
        </p:pic>
        <p:pic>
          <p:nvPicPr>
            <p:cNvPr id="1030" name="Picture 6" descr="Clearstream Banking Luxembourg Client Handbook">
              <a:extLst>
                <a:ext uri="{FF2B5EF4-FFF2-40B4-BE49-F238E27FC236}">
                  <a16:creationId xmlns:a16="http://schemas.microsoft.com/office/drawing/2014/main" id="{7A18980A-0896-C063-F6DB-065F430E4B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7834" y="5390623"/>
              <a:ext cx="2209017" cy="356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0110998-6CBD-EDF0-786D-94F7E1FDF909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468413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0154E6A-4C27-47B2-94AB-B66AEEF45F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0154E6A-4C27-47B2-94AB-B66AEEF45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A000BA2-87D1-420C-8624-CCA3C91B9A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vert="horz"/>
          <a:lstStyle/>
          <a:p>
            <a:r>
              <a:rPr lang="en-US"/>
              <a:t>Collateral Management Services – Joint Service Model</a:t>
            </a:r>
            <a:endParaRPr lang="en-US">
              <a:solidFill>
                <a:srgbClr val="00A5C0"/>
              </a:solidFill>
              <a:cs typeface="Arial" panose="020B060402020202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1803A2-A0F6-4FA1-921A-3F03EB61A7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2C9EDE-4A13-4E4A-9EAA-A59A97CC9CE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2CBFC-D31A-477F-AE1E-CE6EBAD2BD45}"/>
              </a:ext>
            </a:extLst>
          </p:cNvPr>
          <p:cNvSpPr/>
          <p:nvPr/>
        </p:nvSpPr>
        <p:spPr>
          <a:xfrm>
            <a:off x="694370" y="1670923"/>
            <a:ext cx="10752460" cy="127727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solidFill>
                  <a:schemeClr val="accent1"/>
                </a:solidFill>
              </a:rPr>
              <a:t>Joint Service model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rgbClr val="666666"/>
                </a:solidFill>
              </a:rPr>
              <a:t>: Local market infrastructure and Clearstream jointly offer the Collateral Management Solution to market participants with Clearstream covering the Collateral Management Service. </a:t>
            </a:r>
          </a:p>
          <a:p>
            <a:pPr algn="just">
              <a:spcAft>
                <a:spcPts val="600"/>
              </a:spcAft>
            </a:pPr>
            <a:endParaRPr lang="en-US" dirty="0">
              <a:solidFill>
                <a:srgbClr val="666666"/>
              </a:solidFill>
              <a:cs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6170E1-3CDE-4729-8951-EB4192D50E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0907" y="3945896"/>
            <a:ext cx="2999092" cy="952537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1033DE-8590-E41F-518C-4C6E6A3954EE}"/>
              </a:ext>
            </a:extLst>
          </p:cNvPr>
          <p:cNvSpPr/>
          <p:nvPr/>
        </p:nvSpPr>
        <p:spPr>
          <a:xfrm>
            <a:off x="5816599" y="3221836"/>
            <a:ext cx="5655815" cy="190821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b="1" u="sng" dirty="0">
                <a:solidFill>
                  <a:srgbClr val="666666"/>
                </a:solidFill>
              </a:rPr>
              <a:t>Implemented in: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666666"/>
                </a:solidFill>
              </a:rPr>
              <a:t>Canada (TMX) </a:t>
            </a:r>
            <a:endParaRPr lang="en-US" dirty="0">
              <a:solidFill>
                <a:srgbClr val="666666"/>
              </a:solidFill>
              <a:cs typeface="Arial"/>
            </a:endParaRP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666666"/>
                </a:solidFill>
              </a:rPr>
              <a:t>Chosen as best fitting the need for customer base and requirement for internationalization (key domestic players also ICSD participants &amp; access to international assets defined as key). </a:t>
            </a:r>
            <a:endParaRPr lang="en-US" dirty="0">
              <a:solidFill>
                <a:srgbClr val="666666"/>
              </a:solidFill>
              <a:cs typeface="Arial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B44FCE2-3700-599D-15DF-7A3D7A50C9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46956E-FE22-6721-843D-A10C1EA4CC15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54596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52582-C388-F649-8158-91B5FC542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81" y="314906"/>
            <a:ext cx="11017224" cy="93490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b="1" kern="1200" dirty="0">
                <a:latin typeface="+mj-lt"/>
                <a:ea typeface="+mj-ea"/>
                <a:cs typeface="+mj-cs"/>
              </a:rPr>
              <a:t>Benefits of </a:t>
            </a:r>
            <a:r>
              <a:rPr lang="en-GB" dirty="0"/>
              <a:t>P</a:t>
            </a:r>
            <a:r>
              <a:rPr lang="en-GB" b="1" kern="1200" dirty="0">
                <a:latin typeface="+mj-lt"/>
                <a:ea typeface="+mj-ea"/>
                <a:cs typeface="+mj-cs"/>
              </a:rPr>
              <a:t>artnershi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7307BA-9BD3-DE25-3C2F-494354A8A8D1}"/>
              </a:ext>
            </a:extLst>
          </p:cNvPr>
          <p:cNvSpPr txBox="1"/>
          <p:nvPr/>
        </p:nvSpPr>
        <p:spPr bwMode="gray">
          <a:xfrm>
            <a:off x="550014" y="844838"/>
            <a:ext cx="8220722" cy="6871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600" b="1" kern="1200"/>
              <a:t>Leveraging Clearstream Collateral Management Service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09462-5516-E841-ED64-425794C089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>
                <a:latin typeface="+mn-lt"/>
                <a:ea typeface="+mn-ea"/>
                <a:cs typeface="+mn-cs"/>
              </a:rPr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en-GB" kern="1200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C210F8-E0A0-54F8-F882-85A822FDC3CA}"/>
              </a:ext>
            </a:extLst>
          </p:cNvPr>
          <p:cNvSpPr/>
          <p:nvPr/>
        </p:nvSpPr>
        <p:spPr>
          <a:xfrm>
            <a:off x="369810" y="1765358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>
                <a:solidFill>
                  <a:schemeClr val="accent1"/>
                </a:solidFill>
                <a:latin typeface="+mj-lt"/>
              </a:rPr>
              <a:t>Increase value-added service </a:t>
            </a:r>
          </a:p>
          <a:p>
            <a:pPr algn="ctr"/>
            <a:endParaRPr lang="en-GB" sz="1100" b="1">
              <a:solidFill>
                <a:schemeClr val="tx1"/>
              </a:solidFill>
              <a:cs typeface="Arial"/>
            </a:endParaRPr>
          </a:p>
          <a:p>
            <a:pPr algn="ctr"/>
            <a:r>
              <a:rPr lang="en-GB" sz="1200">
                <a:solidFill>
                  <a:schemeClr val="tx1"/>
                </a:solidFill>
              </a:rPr>
              <a:t>Market can provide existing clients with new services and products</a:t>
            </a:r>
            <a:endParaRPr lang="en-US" sz="1200" b="1">
              <a:solidFill>
                <a:schemeClr val="tx1"/>
              </a:solidFill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A13A23B-021D-55E1-7186-E43D602B07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BC71AB-6581-0DD2-18D6-BD3652A1929C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DE0864-E124-266F-2B59-835FEF97A380}"/>
              </a:ext>
            </a:extLst>
          </p:cNvPr>
          <p:cNvSpPr/>
          <p:nvPr/>
        </p:nvSpPr>
        <p:spPr>
          <a:xfrm>
            <a:off x="3211683" y="1765358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xternal expertise and knowledge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Leverage existing knowledge and experience from partners who have already become experts in the product/servic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71D06-C24D-3FF5-CF25-1CC9DAA16209}"/>
              </a:ext>
            </a:extLst>
          </p:cNvPr>
          <p:cNvSpPr/>
          <p:nvPr/>
        </p:nvSpPr>
        <p:spPr>
          <a:xfrm>
            <a:off x="6053556" y="1765357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utsourcing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n-core activit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Allows resources to remain dedicated to core function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949FF0-8DD3-816B-DD78-8CAE3E5C926B}"/>
              </a:ext>
            </a:extLst>
          </p:cNvPr>
          <p:cNvSpPr/>
          <p:nvPr/>
        </p:nvSpPr>
        <p:spPr>
          <a:xfrm>
            <a:off x="8895429" y="1765356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duced resource require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Leverage external resources already in use by partner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49C41B-F169-3551-87EC-0B19DB0B9D8E}"/>
              </a:ext>
            </a:extLst>
          </p:cNvPr>
          <p:cNvSpPr/>
          <p:nvPr/>
        </p:nvSpPr>
        <p:spPr>
          <a:xfrm>
            <a:off x="366347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intain relationship with underlying clients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Allows market participants to remain connected to key infrastructure within the partnership</a:t>
            </a: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795562-9597-C904-AC4F-98F64EDB8170}"/>
              </a:ext>
            </a:extLst>
          </p:cNvPr>
          <p:cNvSpPr/>
          <p:nvPr/>
        </p:nvSpPr>
        <p:spPr>
          <a:xfrm>
            <a:off x="3211682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st considerations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It may be more cost effective to partner with existing platform vs. building a new solution from scratch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974C5C-0723-80EB-3B0E-6FC035A84F80}"/>
              </a:ext>
            </a:extLst>
          </p:cNvPr>
          <p:cNvSpPr/>
          <p:nvPr/>
        </p:nvSpPr>
        <p:spPr>
          <a:xfrm>
            <a:off x="6053555" y="3660027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aster marketability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Time-to-market is faster through a partnership, which leverages existing vs. building new technology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27BAF6-22BB-C4A5-90B9-130F51724B08}"/>
              </a:ext>
            </a:extLst>
          </p:cNvPr>
          <p:cNvSpPr/>
          <p:nvPr/>
        </p:nvSpPr>
        <p:spPr>
          <a:xfrm>
            <a:off x="8895429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A5C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lexibility and scalability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ea typeface="+mn-ea"/>
                <a:cs typeface="+mn-cs"/>
              </a:rPr>
              <a:t>Ability to create bespoke solutions to fit specific market needs and regulation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Arial"/>
            </a:endParaRPr>
          </a:p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068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470CE1-F919-45C5-945A-FFCDBCA09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470CE1-F919-45C5-945A-FFCDBCA09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A06E980C-C38B-4F9B-8725-A3813CB61A2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728700"/>
            <a:ext cx="5400669" cy="719783"/>
          </a:xfrm>
        </p:spPr>
        <p:txBody>
          <a:bodyPr vert="horz"/>
          <a:lstStyle/>
          <a:p>
            <a:r>
              <a:rPr lang="en-US"/>
              <a:t>Thank you!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F75D25-4D2D-4DF4-AFE4-B8E3E4509B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7375" y="1916113"/>
            <a:ext cx="5400675" cy="29892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Gregory Rodeheaver</a:t>
            </a:r>
          </a:p>
          <a:p>
            <a:pPr lvl="1"/>
            <a:r>
              <a:rPr lang="en-US"/>
              <a:t>Director | Head of Client Relations Americas</a:t>
            </a:r>
            <a:endParaRPr lang="en-US" noProof="0">
              <a:cs typeface="Arial"/>
            </a:endParaRPr>
          </a:p>
          <a:p>
            <a:pPr lvl="2"/>
            <a:r>
              <a:rPr lang="en-US" noProof="0"/>
              <a:t>Clearstream Banking </a:t>
            </a:r>
            <a:r>
              <a:rPr lang="en-US"/>
              <a:t>SA</a:t>
            </a:r>
            <a:br>
              <a:rPr lang="en-US" noProof="0"/>
            </a:br>
            <a:r>
              <a:rPr lang="en-US"/>
              <a:t>1155 Avenue of the Americas, 19th Floor</a:t>
            </a:r>
            <a:br>
              <a:rPr lang="en-US" noProof="0"/>
            </a:br>
            <a:r>
              <a:rPr lang="en-US"/>
              <a:t>NY, NY 10036</a:t>
            </a:r>
            <a:endParaRPr lang="en-US" noProof="0">
              <a:cs typeface="Arial"/>
            </a:endParaRPr>
          </a:p>
          <a:p>
            <a:pPr lvl="2"/>
            <a:r>
              <a:rPr lang="en-US" noProof="0"/>
              <a:t>Phone	+</a:t>
            </a:r>
            <a:r>
              <a:rPr lang="en-US"/>
              <a:t>1.347.404.0702</a:t>
            </a:r>
            <a:br>
              <a:rPr lang="en-US" noProof="0"/>
            </a:br>
            <a:r>
              <a:rPr lang="en-US" noProof="0"/>
              <a:t>E-mail</a:t>
            </a:r>
            <a:r>
              <a:rPr lang="en-US"/>
              <a:t> </a:t>
            </a:r>
            <a:r>
              <a:rPr lang="en-US" err="1"/>
              <a:t>gregory</a:t>
            </a:r>
            <a:r>
              <a:rPr lang="en-US" noProof="0"/>
              <a:t>.</a:t>
            </a:r>
            <a:r>
              <a:rPr lang="en-US" err="1"/>
              <a:t>rodeheaver</a:t>
            </a:r>
            <a:r>
              <a:rPr lang="en-US" noProof="0"/>
              <a:t>@clearstream.com</a:t>
            </a:r>
            <a:endParaRPr lang="en-US" noProof="0"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DF326C5-C875-4680-87D0-9B1C338CD5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03949" y="1916113"/>
            <a:ext cx="5400675" cy="29892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Nathalia Teofilo</a:t>
            </a:r>
            <a:endParaRPr lang="en-US" noProof="0"/>
          </a:p>
          <a:p>
            <a:pPr lvl="1"/>
            <a:r>
              <a:rPr lang="en-US">
                <a:cs typeface="Arial"/>
              </a:rPr>
              <a:t>Vice President |  Relationship Management - Americas</a:t>
            </a:r>
            <a:endParaRPr lang="en-US" noProof="0">
              <a:cs typeface="Arial"/>
            </a:endParaRPr>
          </a:p>
          <a:p>
            <a:pPr lvl="2"/>
            <a:r>
              <a:rPr lang="en-US" noProof="0"/>
              <a:t>Clearstream Banking </a:t>
            </a:r>
            <a:r>
              <a:rPr lang="en-US"/>
              <a:t>SA</a:t>
            </a:r>
            <a:br>
              <a:rPr lang="en-US"/>
            </a:br>
            <a:r>
              <a:rPr lang="en-US"/>
              <a:t>1155 Avenue of the Americas, 19th Floor</a:t>
            </a:r>
            <a:br>
              <a:rPr lang="en-US"/>
            </a:br>
            <a:r>
              <a:rPr lang="en-US"/>
              <a:t>NY, NY 10036</a:t>
            </a:r>
            <a:endParaRPr lang="en-US">
              <a:cs typeface="Arial"/>
            </a:endParaRPr>
          </a:p>
          <a:p>
            <a:pPr lvl="2"/>
            <a:r>
              <a:rPr lang="en-US"/>
              <a:t>Phone +1.347.952.6488</a:t>
            </a:r>
            <a:br>
              <a:rPr lang="en-US"/>
            </a:br>
            <a:r>
              <a:rPr lang="en-US"/>
              <a:t>E-mail nathalia.teofilo@</a:t>
            </a:r>
            <a:r>
              <a:rPr lang="en-US" noProof="0"/>
              <a:t>clearstream.com</a:t>
            </a:r>
            <a:endParaRPr lang="en-US" noProof="0">
              <a:cs typeface="Arial" panose="020B0604020202020204"/>
            </a:endParaRP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ACBD6553-7F89-2A64-8492-21495202C650}"/>
              </a:ext>
            </a:extLst>
          </p:cNvPr>
          <p:cNvSpPr txBox="1">
            <a:spLocks/>
          </p:cNvSpPr>
          <p:nvPr/>
        </p:nvSpPr>
        <p:spPr bwMode="gray">
          <a:xfrm>
            <a:off x="5806768" y="6381352"/>
            <a:ext cx="576064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sz="900" b="0" smtClean="0"/>
              <a:pPr algn="ctr">
                <a:lnSpc>
                  <a:spcPct val="90000"/>
                </a:lnSpc>
                <a:spcAft>
                  <a:spcPts val="600"/>
                </a:spcAft>
              </a:pPr>
              <a:t>7</a:t>
            </a:fld>
            <a:endParaRPr lang="en-GB" sz="900" b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378F0BA-4A7E-6B98-F26E-4134B219DC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236219-9BB7-36A4-40BF-CA4EB4E1C415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5166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892ef98-e965-4d2c-8c83-494a83649896"/>
  <p:tag name="MIO_EKGUID" val="cdc06b8a-b0b9-4c36-95c1-fa066da490eb"/>
  <p:tag name="MIO_UPDATE" val="True"/>
  <p:tag name="MIO_VERSION" val="25.05.2023 06:13:57"/>
  <p:tag name="MIO_DBID" val="0F45B44C-9BC7-4D85-81C4-7155EE70A7B9"/>
  <p:tag name="MIO_LASTDOWNLOADED" val="01.03.2024 16:10:34.609"/>
  <p:tag name="MIO_OBJECTNAME" val="01 Title with Stream"/>
  <p:tag name="MIO_LASTEDITORNAME" val="Sandra We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b578b5-bb61-495a-a5b2-9e17497287fb"/>
  <p:tag name="MIO_EKGUID" val="305e7cc6-39f0-4d36-b51e-71bf8b24f1f6"/>
  <p:tag name="MIO_UPDATE" val="True"/>
  <p:tag name="MIO_VERSION" val="08.05.2023 09:44:31"/>
  <p:tag name="MIO_DBID" val="0f45b44c-9bc7-4d85-81c4-7155ee70a7b9"/>
  <p:tag name="MIO_LASTDOWNLOADED" val="08.05.2023 14:42:30"/>
  <p:tag name="MIO_OBJECTNAME" val="A number of significant trends will shape the post-trade industry of the future"/>
  <p:tag name="MIO_LASTEDITORNAME" val="Valerie de Jo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7876820-d53d-4b08-9980-519f230a4cf1"/>
  <p:tag name="MIO_GUID" val="91aef53d-af2e-4769-affa-7a12cea2da3a"/>
  <p:tag name="MIO_UPDATE" val="True"/>
  <p:tag name="MIO_VERSION" val="30.03.2021 13:35:58"/>
  <p:tag name="MIO_DBID" val="0F45B44C-9BC7-4D85-81C4-7155EE70A7B9"/>
  <p:tag name="MIO_LASTDOWNLOADED" val="28.09.2022 10:51:59.906"/>
  <p:tag name="MIO_OBJECTNAME" val="System"/>
  <p:tag name="MIO_LASTEDITORNAME" val="Stephan Grambach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56c3aa-d221-4054-8e8e-d148080bcd7c"/>
  <p:tag name="MIO_GUID" val="afa7ba59-9d9b-4948-a21e-8a158c38b939"/>
  <p:tag name="MIO_UPDATE" val="True"/>
  <p:tag name="MIO_VERSION" val="30.03.2021 13:21:56"/>
  <p:tag name="MIO_DBID" val="0F45B44C-9BC7-4D85-81C4-7155EE70A7B9"/>
  <p:tag name="MIO_LASTDOWNLOADED" val="04.05.2023 11:45:41.045"/>
  <p:tag name="MIO_OBJECTNAME" val="Gearwheel"/>
  <p:tag name="MIO_LASTEDITORNAME" val="Stephan Grambac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bae7089-e9fb-4c84-8d10-7a819a885861"/>
  <p:tag name="MIO_GUID" val="02c2ba1b-dece-4a11-9218-b5811f7aa9a9"/>
  <p:tag name="MIO_UPDATE" val="True"/>
  <p:tag name="MIO_VERSION" val="30.03.2021 13:13:45"/>
  <p:tag name="MIO_DBID" val="0F45B44C-9BC7-4D85-81C4-7155EE70A7B9"/>
  <p:tag name="MIO_LASTDOWNLOADED" val="04.05.2023 11:47:14.899"/>
  <p:tag name="MIO_OBJECTNAME" val="Negotiation"/>
  <p:tag name="MIO_LASTEDITORNAME" val="Stephan Grambac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ef42a65-387c-4627-b9eb-7de3cf06b11f"/>
  <p:tag name="MIO_GUID" val="efc31017-78c1-4aa6-9bba-f0a3abd3df8b"/>
  <p:tag name="MIO_UPDATE" val="True"/>
  <p:tag name="MIO_VERSION" val="30.03.2021 13:12:59"/>
  <p:tag name="MIO_DBID" val="0F45B44C-9BC7-4D85-81C4-7155EE70A7B9"/>
  <p:tag name="MIO_LASTDOWNLOADED" val="28.09.2022 14:30:24.050"/>
  <p:tag name="MIO_OBJECTNAME" val="Lightbulb"/>
  <p:tag name="MIO_LASTEDITORNAME" val="Stephan Grambac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659a16-341e-4d1c-b647-74cf08111a05"/>
  <p:tag name="MIO_EKGUID" val="8de79d3c-b41f-4e92-bcba-dd12cb6ddb7c"/>
  <p:tag name="MIO_UPDATE" val="True"/>
  <p:tag name="MIO_VERSION" val="31.03.2021 12:29:43"/>
  <p:tag name="MIO_DBID" val="0F45B44C-9BC7-4D85-81C4-7155EE70A7B9"/>
  <p:tag name="MIO_LASTDOWNLOADED" val="02.01.2024 09:34:50.277"/>
  <p:tag name="MIO_OBJECTNAME" val="Content – One Column This is an optional Subline: Lorem ipsum dolor sit amet, consectetur adipiscing elit."/>
  <p:tag name="MIO_LASTEDITORNAME" val="Stephan Grambac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659a16-341e-4d1c-b647-74cf08111a05"/>
  <p:tag name="MIO_EKGUID" val="8de79d3c-b41f-4e92-bcba-dd12cb6ddb7c"/>
  <p:tag name="MIO_UPDATE" val="True"/>
  <p:tag name="MIO_VERSION" val="31.03.2021 12:29:43"/>
  <p:tag name="MIO_DBID" val="0F45B44C-9BC7-4D85-81C4-7155EE70A7B9"/>
  <p:tag name="MIO_LASTDOWNLOADED" val="02.01.2024 09:34:50.277"/>
  <p:tag name="MIO_OBJECTNAME" val="Content – One Column This is an optional Subline: Lorem ipsum dolor sit amet, consectetur adipiscing elit."/>
  <p:tag name="MIO_LASTEDITORNAME" val="Stephan Grambac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Z0.sUiJVthkTkHyBx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97a9ec-af19-4b02-a511-509fc6f1d9c0"/>
  <p:tag name="MIO_EKGUID" val="ffcc3345-473f-4a49-ae41-69f725dce3c1"/>
  <p:tag name="MIO_UPDATE" val="True"/>
  <p:tag name="MIO_VERSION" val="30.03.2021 10:53:14"/>
  <p:tag name="MIO_DBID" val="0F45B44C-9BC7-4D85-81C4-7155EE70A7B9"/>
  <p:tag name="MIO_LASTDOWNLOADED" val="01.03.2024 16:13:21.853"/>
  <p:tag name="MIO_OBJECTNAME" val="Thank you! (3)"/>
  <p:tag name="MIO_LASTEDITORNAME" val="Stephan Gramba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c65902dc-e053-4881-b73f-33b075c5b3a5"/>
  <p:tag name="MIO_UPDATE" val="True"/>
  <p:tag name="MIO_DBID" val="0F45B44C-9BC7-4D85-81C4-7155EE70A7B9"/>
  <p:tag name="MIO_OBJECTNAME" val="Clearstream"/>
  <p:tag name="MIO_FALLBACK_LAYOUT" val="2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6"/>
  <p:tag name="MIO_VERSION" val="27.05.2021 09:14:37"/>
  <p:tag name="MIO_LASTDOWNLOADED" val="04.04.2023 13:17:25.266"/>
  <p:tag name="MIO_CDID" val="b581ecfa-a3b5-4558-9b02-8db253accba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itle;"/>
  <p:tag name="MIO_USER_INPUT_TEXT" val=" "/>
</p:tagLst>
</file>

<file path=ppt/theme/theme1.xml><?xml version="1.0" encoding="utf-8"?>
<a:theme xmlns:a="http://schemas.openxmlformats.org/drawingml/2006/main" name="Clearstream">
  <a:themeElements>
    <a:clrScheme name="Clearstream">
      <a:dk1>
        <a:srgbClr val="666666"/>
      </a:dk1>
      <a:lt1>
        <a:srgbClr val="FFFFFF"/>
      </a:lt1>
      <a:dk2>
        <a:srgbClr val="878787"/>
      </a:dk2>
      <a:lt2>
        <a:srgbClr val="E3E3E3"/>
      </a:lt2>
      <a:accent1>
        <a:srgbClr val="00A5C0"/>
      </a:accent1>
      <a:accent2>
        <a:srgbClr val="77B700"/>
      </a:accent2>
      <a:accent3>
        <a:srgbClr val="686C6E"/>
      </a:accent3>
      <a:accent4>
        <a:srgbClr val="000099"/>
      </a:accent4>
      <a:accent5>
        <a:srgbClr val="BF2296"/>
      </a:accent5>
      <a:accent6>
        <a:srgbClr val="FF6600"/>
      </a:accent6>
      <a:hlink>
        <a:srgbClr val="00A5C0"/>
      </a:hlink>
      <a:folHlink>
        <a:srgbClr val="00A5C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indent="0" algn="l">
          <a:spcAft>
            <a:spcPts val="600"/>
          </a:spcAft>
          <a:buFontTx/>
          <a:buNone/>
          <a:defRPr sz="1600" dirty="0" err="1"/>
        </a:defPPr>
      </a:lstStyle>
    </a:txDef>
  </a:objectDefaults>
  <a:extraClrSchemeLst/>
  <a:custClrLst>
    <a:custClr name="Black 80%">
      <a:srgbClr val="5A5A5A"/>
    </a:custClr>
    <a:custClr name="Black 30%">
      <a:srgbClr val="C8C8C8"/>
    </a:custClr>
    <a:custClr name="Yellow">
      <a:srgbClr val="FFCC00"/>
    </a:custClr>
    <a:custClr name="Green">
      <a:srgbClr val="00C78B"/>
    </a:custClr>
    <a:custClr name="Violette">
      <a:srgbClr val="5F3799"/>
    </a:custClr>
    <a:custClr name="Red">
      <a:srgbClr val="E00034"/>
    </a:custClr>
  </a:custClrLst>
  <a:extLst>
    <a:ext uri="{05A4C25C-085E-4340-85A3-A5531E510DB2}">
      <thm15:themeFamily xmlns:thm15="http://schemas.microsoft.com/office/thememl/2012/main" name="K16_Deutsche_Boerse_Group_Master_empower_final.potx" id="{EF0194E1-8EED-4DF6-884D-9D670CF467FF}" vid="{7F7F911C-BBF2-404A-BEB8-2674AAA258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5vbmJ1c2luZXNzIiB2YWx1ZT0iIiB4bWxucz0iaHR0cDovL3d3dy5ib2xkb25qYW1lcy5jb20vMjAwOC8wMS9zaWUvaW50ZXJuYWwvbGFiZWwiIC8+PC9zaXNsPjxVc2VyTmFtZT5PQUFEXHFqNDY4PC9Vc2VyTmFtZT48RGF0ZVRpbWU+MTIvMTEvMjAyMCA5OjAyOjM0IEFNPC9EYXRlVGltZT48TGFiZWxTdHJpbmc+UHVibGljPC9MYWJlbFN0cmluZz48L2l0ZW0+PC9sYWJlbEhpc3Rvcnk+</Value>
</WrappedLabelHistory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ludGVybmFsb25seSIgdmFsdWU9IiIgeG1sbnM9Imh0dHA6Ly93d3cuYm9sZG9uamFtZXMuY29tLzIwMDgvMDEvc2llL2ludGVybmFsL2xhYmVsIiAvPjwvc2lzbD48VXNlck5hbWU+T0FBRFxmczE2MzwvVXNlck5hbWU+PERhdGVUaW1lPjEyLjExLjIwMTkgMTM6Mzk6Mzc8L0RhdGVUaW1lPjxMYWJlbFN0cmluZz5JbnRlcm5hbDwvTGFiZWxTdHJpbmc+PC9pdGVtPjwvbGFiZWxIaXN0b3J5Pg==</Value>
</WrappedLabelHistory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21BFE0693A05429C55BF5047F65779" ma:contentTypeVersion="17" ma:contentTypeDescription="Create a new document." ma:contentTypeScope="" ma:versionID="872113dd76683f2d5b5e613839d41153">
  <xsd:schema xmlns:xsd="http://www.w3.org/2001/XMLSchema" xmlns:xs="http://www.w3.org/2001/XMLSchema" xmlns:p="http://schemas.microsoft.com/office/2006/metadata/properties" xmlns:ns2="1f71b144-df23-476f-878a-f2a729b13e42" xmlns:ns3="2a226e4b-c59b-41bf-a4d9-6e88639f010b" targetNamespace="http://schemas.microsoft.com/office/2006/metadata/properties" ma:root="true" ma:fieldsID="f1214cc3926a19cdcdd2a412b724a4e2" ns2:_="" ns3:_="">
    <xsd:import namespace="1f71b144-df23-476f-878a-f2a729b13e42"/>
    <xsd:import namespace="2a226e4b-c59b-41bf-a4d9-6e88639f01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1b144-df23-476f-878a-f2a729b13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917e55e0-b0a9-432c-94a7-1995524fa8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226e4b-c59b-41bf-a4d9-6e88639f010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1c84e365-ffed-474b-98dd-c237acbaf346}" ma:internalName="TaxCatchAll" ma:showField="CatchAllData" ma:web="2a226e4b-c59b-41bf-a4d9-6e88639f01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a226e4b-c59b-41bf-a4d9-6e88639f010b" xsi:nil="true"/>
    <lcf76f155ced4ddcb4097134ff3c332f xmlns="1f71b144-df23-476f-878a-f2a729b13e42">
      <Terms xmlns="http://schemas.microsoft.com/office/infopath/2007/PartnerControls"/>
    </lcf76f155ced4ddcb4097134ff3c332f>
    <SharedWithUsers xmlns="2a226e4b-c59b-41bf-a4d9-6e88639f010b">
      <UserInfo>
        <DisplayName>Gregory Rodeheaver</DisplayName>
        <AccountId>13</AccountId>
        <AccountType/>
      </UserInfo>
      <UserInfo>
        <DisplayName>Nathalia Teofilo</DisplayName>
        <AccountId>11</AccountId>
        <AccountType/>
      </UserInfo>
    </SharedWithUsers>
  </documentManagement>
</p:properties>
</file>

<file path=customXml/item6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84DA957C-70AD-4ADB-9860-C1C157418155}">
  <ds:schemaRefs>
    <ds:schemaRef ds:uri="http://www.boldonjames.com/2016/02/Classifier/internal/wrappedLabelHistory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5A045FB-7595-433C-BD2F-B5BAFDC651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B0A66D-4851-4D7D-9286-4820FED6CE16}">
  <ds:schemaRefs>
    <ds:schemaRef ds:uri="http://www.boldonjames.com/2016/02/Classifier/internal/wrappedLabelHistory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BF8C9635-4D71-4823-BF21-D431FEA323EE}">
  <ds:schemaRefs>
    <ds:schemaRef ds:uri="1f71b144-df23-476f-878a-f2a729b13e42"/>
    <ds:schemaRef ds:uri="2a226e4b-c59b-41bf-a4d9-6e88639f01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B8446368-80CB-4A71-BA3E-66F818473476}">
  <ds:schemaRefs>
    <ds:schemaRef ds:uri="1f71b144-df23-476f-878a-f2a729b13e42"/>
    <ds:schemaRef ds:uri="2a226e4b-c59b-41bf-a4d9-6e88639f01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.xml><?xml version="1.0" encoding="utf-8"?>
<ds:datastoreItem xmlns:ds="http://schemas.openxmlformats.org/officeDocument/2006/customXml" ds:itemID="{B29A5ACC-3C9F-46DD-9B9C-A3404C2D6DFD}">
  <ds:schemaRefs>
    <ds:schemaRef ds:uri="http://www.boldonjames.com/2008/01/sie/internal/label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7</Words>
  <Application>Microsoft Office PowerPoint</Application>
  <PresentationFormat>Widescreen</PresentationFormat>
  <Paragraphs>97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Trebuchet MS</vt:lpstr>
      <vt:lpstr>Clearstream</vt:lpstr>
      <vt:lpstr>think-cell Folie</vt:lpstr>
      <vt:lpstr>think-cell Slide</vt:lpstr>
      <vt:lpstr>Clearstream Market Partnerships</vt:lpstr>
      <vt:lpstr>Significant Trends Shaping the Future Post-trade Industry</vt:lpstr>
      <vt:lpstr>Clearstream Collateral Management Service for Market Infrastructures </vt:lpstr>
      <vt:lpstr>Collateral Management Services – Outsourcing Model</vt:lpstr>
      <vt:lpstr>Collateral Management Services – Joint Service Model</vt:lpstr>
      <vt:lpstr>Benefits of Partnership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ra Weber</dc:creator>
  <cp:lastModifiedBy>Nathalia Teofilo</cp:lastModifiedBy>
  <cp:revision>1</cp:revision>
  <cp:lastPrinted>2024-01-09T16:28:40Z</cp:lastPrinted>
  <dcterms:created xsi:type="dcterms:W3CDTF">2023-05-25T06:20:42Z</dcterms:created>
  <dcterms:modified xsi:type="dcterms:W3CDTF">2024-03-06T19:4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952e98-911c-4aff-840a-f71bc6baaf7f_Enabled">
    <vt:lpwstr>true</vt:lpwstr>
  </property>
  <property fmtid="{D5CDD505-2E9C-101B-9397-08002B2CF9AE}" pid="3" name="MSIP_Label_2e952e98-911c-4aff-840a-f71bc6baaf7f_SetDate">
    <vt:lpwstr>2024-01-02T09:50:56Z</vt:lpwstr>
  </property>
  <property fmtid="{D5CDD505-2E9C-101B-9397-08002B2CF9AE}" pid="4" name="MSIP_Label_2e952e98-911c-4aff-840a-f71bc6baaf7f_Method">
    <vt:lpwstr>Standard</vt:lpwstr>
  </property>
  <property fmtid="{D5CDD505-2E9C-101B-9397-08002B2CF9AE}" pid="5" name="MSIP_Label_2e952e98-911c-4aff-840a-f71bc6baaf7f_Name">
    <vt:lpwstr>2e952e98-911c-4aff-840a-f71bc6baaf7f</vt:lpwstr>
  </property>
  <property fmtid="{D5CDD505-2E9C-101B-9397-08002B2CF9AE}" pid="6" name="MSIP_Label_2e952e98-911c-4aff-840a-f71bc6baaf7f_SiteId">
    <vt:lpwstr>e00ddcdf-1e0f-4be5-a37a-894a4731986a</vt:lpwstr>
  </property>
  <property fmtid="{D5CDD505-2E9C-101B-9397-08002B2CF9AE}" pid="7" name="MSIP_Label_2e952e98-911c-4aff-840a-f71bc6baaf7f_ActionId">
    <vt:lpwstr>57b91882-b6aa-414b-9f9d-dfd6e6193386</vt:lpwstr>
  </property>
  <property fmtid="{D5CDD505-2E9C-101B-9397-08002B2CF9AE}" pid="8" name="MSIP_Label_2e952e98-911c-4aff-840a-f71bc6baaf7f_ContentBits">
    <vt:lpwstr>2</vt:lpwstr>
  </property>
  <property fmtid="{D5CDD505-2E9C-101B-9397-08002B2CF9AE}" pid="9" name="ContentTypeId">
    <vt:lpwstr>0x010100EF21BFE0693A05429C55BF5047F65779</vt:lpwstr>
  </property>
  <property fmtid="{D5CDD505-2E9C-101B-9397-08002B2CF9AE}" pid="10" name="MediaServiceImageTags">
    <vt:lpwstr/>
  </property>
</Properties>
</file>